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8" r:id="rId2"/>
    <p:sldId id="601" r:id="rId3"/>
    <p:sldId id="613" r:id="rId4"/>
    <p:sldId id="614" r:id="rId5"/>
    <p:sldId id="615" r:id="rId6"/>
    <p:sldId id="616" r:id="rId7"/>
    <p:sldId id="617" r:id="rId8"/>
    <p:sldId id="618" r:id="rId9"/>
    <p:sldId id="619" r:id="rId10"/>
    <p:sldId id="620" r:id="rId11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121914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70" algn="l" defTabSz="121914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40" algn="l" defTabSz="121914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09" algn="l" defTabSz="121914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278" algn="l" defTabSz="121914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848" algn="l" defTabSz="121914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418" algn="l" defTabSz="121914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987" algn="l" defTabSz="121914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557" algn="l" defTabSz="121914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3" pos="302" userDrawn="1">
          <p15:clr>
            <a:srgbClr val="A4A3A4"/>
          </p15:clr>
        </p15:guide>
        <p15:guide id="8" pos="7378" userDrawn="1">
          <p15:clr>
            <a:srgbClr val="A4A3A4"/>
          </p15:clr>
        </p15:guide>
        <p15:guide id="9" orient="horz" pos="935" userDrawn="1">
          <p15:clr>
            <a:srgbClr val="A4A3A4"/>
          </p15:clr>
        </p15:guide>
        <p15:guide id="10" orient="horz" pos="3816" userDrawn="1">
          <p15:clr>
            <a:srgbClr val="A4A3A4"/>
          </p15:clr>
        </p15:guide>
        <p15:guide id="11" pos="3908" userDrawn="1">
          <p15:clr>
            <a:srgbClr val="A4A3A4"/>
          </p15:clr>
        </p15:guide>
        <p15:guide id="12" pos="3772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0"/>
      </p:ext>
    </p:extLst>
  </p:showPr>
  <p:clrMru>
    <a:srgbClr val="00B0F0"/>
    <a:srgbClr val="A9E3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1695" autoAdjust="0"/>
    <p:restoredTop sz="95071" autoAdjust="0"/>
  </p:normalViewPr>
  <p:slideViewPr>
    <p:cSldViewPr snapToGrid="0" snapToObjects="1" showGuides="1">
      <p:cViewPr varScale="1">
        <p:scale>
          <a:sx n="84" d="100"/>
          <a:sy n="84" d="100"/>
        </p:scale>
        <p:origin x="-84" y="-498"/>
      </p:cViewPr>
      <p:guideLst>
        <p:guide orient="horz" pos="935"/>
        <p:guide orient="horz" pos="3816"/>
        <p:guide pos="302"/>
        <p:guide pos="7378"/>
        <p:guide pos="3908"/>
        <p:guide pos="3772"/>
      </p:guideLst>
    </p:cSldViewPr>
  </p:slideViewPr>
  <p:outlineViewPr>
    <p:cViewPr>
      <p:scale>
        <a:sx n="33" d="100"/>
        <a:sy n="33" d="100"/>
      </p:scale>
      <p:origin x="0" y="-64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684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2064" y="-90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51A42D99-180A-46D1-9559-FD6496BA38A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66849" y="8856000"/>
            <a:ext cx="29718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pPr algn="l"/>
            <a:fld id="{5A74B7D8-3527-4146-850B-13A8891B2144}" type="slidenum">
              <a:rPr lang="en-GB" sz="1000" smtClean="0"/>
              <a:pPr algn="l"/>
              <a:t>‹#›</a:t>
            </a:fld>
            <a:endParaRPr lang="en-GB" sz="1000" dirty="0"/>
          </a:p>
        </p:txBody>
      </p:sp>
      <p:pic>
        <p:nvPicPr>
          <p:cNvPr id="6" name="Grafik 5">
            <a:extLst>
              <a:ext uri="{FF2B5EF4-FFF2-40B4-BE49-F238E27FC236}">
                <a16:creationId xmlns="" xmlns:a16="http://schemas.microsoft.com/office/drawing/2014/main" id="{F8666D39-E20F-412B-AD2F-B9AA0502D3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6607" y="8633978"/>
            <a:ext cx="354544" cy="35454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120147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000" y="8856476"/>
            <a:ext cx="43908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latin typeface="VW Text Office" panose="020B0503040200000003" pitchFamily="34" charset="0"/>
              </a:defRPr>
            </a:lvl1pPr>
          </a:lstStyle>
          <a:p>
            <a:fld id="{E0ACFCA9-5A87-4C54-A0DD-FEE9B5D7103A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="" xmlns:a16="http://schemas.microsoft.com/office/drawing/2014/main" id="{F0137379-F1A6-4BE5-A3E6-7D10969D78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2456" y="8633978"/>
            <a:ext cx="354544" cy="35454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983475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40" rtl="0" eaLnBrk="1" latinLnBrk="0" hangingPunct="1">
      <a:spcBef>
        <a:spcPts val="1200"/>
      </a:spcBef>
      <a:defRPr sz="1600" kern="1200">
        <a:solidFill>
          <a:schemeClr val="tx1"/>
        </a:solidFill>
        <a:latin typeface="+mj-lt"/>
        <a:ea typeface="+mn-ea"/>
        <a:cs typeface="+mn-cs"/>
      </a:defRPr>
    </a:lvl1pPr>
    <a:lvl2pPr marL="0" indent="0" algn="l" defTabSz="1219140" rtl="0" eaLnBrk="1" latinLnBrk="0" hangingPunct="1">
      <a:spcBef>
        <a:spcPts val="1000"/>
      </a:spcBef>
      <a:defRPr sz="1600" kern="1200">
        <a:solidFill>
          <a:schemeClr val="tx1"/>
        </a:solidFill>
        <a:latin typeface="VW Text Office" panose="020B0503040200000003" pitchFamily="34" charset="0"/>
        <a:ea typeface="+mn-ea"/>
        <a:cs typeface="+mn-cs"/>
      </a:defRPr>
    </a:lvl2pPr>
    <a:lvl3pPr marL="252000" indent="-252000" algn="l" defTabSz="1219140" rtl="0" eaLnBrk="1" latinLnBrk="0" hangingPunct="1">
      <a:spcBef>
        <a:spcPts val="4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VW Text Office" panose="020B0503040200000003" pitchFamily="34" charset="0"/>
        <a:ea typeface="+mn-ea"/>
        <a:cs typeface="+mn-cs"/>
      </a:defRPr>
    </a:lvl3pPr>
    <a:lvl4pPr marL="252000" indent="-252000" algn="l" defTabSz="1219140" rtl="0" eaLnBrk="1" latinLnBrk="0" hangingPunct="1">
      <a:spcBef>
        <a:spcPts val="4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VW Text Office" panose="020B0503040200000003" pitchFamily="34" charset="0"/>
        <a:ea typeface="+mn-ea"/>
        <a:cs typeface="+mn-cs"/>
      </a:defRPr>
    </a:lvl4pPr>
    <a:lvl5pPr marL="252000" indent="-252000" algn="l" defTabSz="1219140" rtl="0" eaLnBrk="1" latinLnBrk="0" hangingPunct="1">
      <a:spcBef>
        <a:spcPts val="4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VW Text Office" panose="020B0503040200000003" pitchFamily="34" charset="0"/>
        <a:ea typeface="+mn-ea"/>
        <a:cs typeface="+mn-cs"/>
      </a:defRPr>
    </a:lvl5pPr>
    <a:lvl6pPr marL="3047848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418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987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557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ACFCA9-5A87-4C54-A0DD-FEE9B5D7103A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829699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6.vml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bl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="" xmlns:a16="http://schemas.microsoft.com/office/drawing/2014/main" id="{A44C3760-6291-451D-9ECB-A0BAF6F8D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586081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203" name="think-cell Folie" r:id="rId5" imgW="360" imgH="360" progId="">
              <p:embed/>
            </p:oleObj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="" xmlns:a16="http://schemas.microsoft.com/office/drawing/2014/main" id="{364AEBC5-6305-4EF7-A8BD-79CA33291F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GB" sz="48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="" xmlns:a16="http://schemas.microsoft.com/office/drawing/2014/main" id="{EA63D9C3-4D98-44E0-90AD-13EEAB0F2BCB}"/>
              </a:ext>
            </a:extLst>
          </p:cNvPr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8" name="Gerade Verbindung 6">
              <a:extLst>
                <a:ext uri="{FF2B5EF4-FFF2-40B4-BE49-F238E27FC236}">
                  <a16:creationId xmlns="" xmlns:a16="http://schemas.microsoft.com/office/drawing/2014/main" id="{717C255D-BABE-4648-8C80-372B53E03E45}"/>
                </a:ext>
              </a:extLst>
            </p:cNvPr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7">
              <a:extLst>
                <a:ext uri="{FF2B5EF4-FFF2-40B4-BE49-F238E27FC236}">
                  <a16:creationId xmlns="" xmlns:a16="http://schemas.microsoft.com/office/drawing/2014/main" id="{DF2D56B2-9C0A-494A-8FDB-1525C742F7A8}"/>
                </a:ext>
              </a:extLst>
            </p:cNvPr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8">
              <a:extLst>
                <a:ext uri="{FF2B5EF4-FFF2-40B4-BE49-F238E27FC236}">
                  <a16:creationId xmlns="" xmlns:a16="http://schemas.microsoft.com/office/drawing/2014/main" id="{4F8EE169-4B8D-44C3-8070-817B163B3AC4}"/>
                </a:ext>
              </a:extLst>
            </p:cNvPr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9">
              <a:extLst>
                <a:ext uri="{FF2B5EF4-FFF2-40B4-BE49-F238E27FC236}">
                  <a16:creationId xmlns="" xmlns:a16="http://schemas.microsoft.com/office/drawing/2014/main" id="{1A79CC8B-9B1A-4872-A719-E8054CF0E25E}"/>
                </a:ext>
              </a:extLst>
            </p:cNvPr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0">
              <a:extLst>
                <a:ext uri="{FF2B5EF4-FFF2-40B4-BE49-F238E27FC236}">
                  <a16:creationId xmlns="" xmlns:a16="http://schemas.microsoft.com/office/drawing/2014/main" id="{0F87EEF9-7CAD-4322-9E4C-70C0B2B9CB2A}"/>
                </a:ext>
              </a:extLst>
            </p:cNvPr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1">
              <a:extLst>
                <a:ext uri="{FF2B5EF4-FFF2-40B4-BE49-F238E27FC236}">
                  <a16:creationId xmlns="" xmlns:a16="http://schemas.microsoft.com/office/drawing/2014/main" id="{8710359C-B205-4E56-B70A-EDB07151A0A2}"/>
                </a:ext>
              </a:extLst>
            </p:cNvPr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2">
              <a:extLst>
                <a:ext uri="{FF2B5EF4-FFF2-40B4-BE49-F238E27FC236}">
                  <a16:creationId xmlns="" xmlns:a16="http://schemas.microsoft.com/office/drawing/2014/main" id="{C101394D-6017-44CB-95C4-E3F8761BD30E}"/>
                </a:ext>
              </a:extLst>
            </p:cNvPr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3">
              <a:extLst>
                <a:ext uri="{FF2B5EF4-FFF2-40B4-BE49-F238E27FC236}">
                  <a16:creationId xmlns="" xmlns:a16="http://schemas.microsoft.com/office/drawing/2014/main" id="{1AA95557-170F-4C93-B803-D024C1735374}"/>
                </a:ext>
              </a:extLst>
            </p:cNvPr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8">
              <a:extLst>
                <a:ext uri="{FF2B5EF4-FFF2-40B4-BE49-F238E27FC236}">
                  <a16:creationId xmlns="" xmlns:a16="http://schemas.microsoft.com/office/drawing/2014/main" id="{D34859A9-A08C-4F54-A8E7-C649A06E7D0B}"/>
                </a:ext>
              </a:extLst>
            </p:cNvPr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19">
              <a:extLst>
                <a:ext uri="{FF2B5EF4-FFF2-40B4-BE49-F238E27FC236}">
                  <a16:creationId xmlns="" xmlns:a16="http://schemas.microsoft.com/office/drawing/2014/main" id="{FED57F7F-3F19-47B4-BF44-87FEEA73B148}"/>
                </a:ext>
              </a:extLst>
            </p:cNvPr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18">
              <a:extLst>
                <a:ext uri="{FF2B5EF4-FFF2-40B4-BE49-F238E27FC236}">
                  <a16:creationId xmlns="" xmlns:a16="http://schemas.microsoft.com/office/drawing/2014/main" id="{036BF247-2633-4001-8765-CEEE5E02AB2A}"/>
                </a:ext>
              </a:extLst>
            </p:cNvPr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19">
              <a:extLst>
                <a:ext uri="{FF2B5EF4-FFF2-40B4-BE49-F238E27FC236}">
                  <a16:creationId xmlns="" xmlns:a16="http://schemas.microsoft.com/office/drawing/2014/main" id="{E761532C-E0C5-4F30-B32F-6C7438945037}"/>
                </a:ext>
              </a:extLst>
            </p:cNvPr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878480" y="2554469"/>
            <a:ext cx="9144000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878480" y="3189126"/>
            <a:ext cx="9144000" cy="738664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878478" y="5524239"/>
            <a:ext cx="6696000" cy="287867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Location | Month Day, Year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="" xmlns:a16="http://schemas.microsoft.com/office/drawing/2014/main" id="{BCE1438A-B796-4A1A-9F81-30F3E1522672}"/>
              </a:ext>
            </a:extLst>
          </p:cNvPr>
          <p:cNvSpPr/>
          <p:nvPr userDrawn="1"/>
        </p:nvSpPr>
        <p:spPr bwMode="black">
          <a:xfrm>
            <a:off x="11074800" y="1485753"/>
            <a:ext cx="637200" cy="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52000" indent="-252000" algn="l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00" noProof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="" xmlns:a16="http://schemas.microsoft.com/office/drawing/2014/main" id="{35FB287A-7FCB-462B-9C36-CC12A288D936}"/>
              </a:ext>
            </a:extLst>
          </p:cNvPr>
          <p:cNvSpPr/>
          <p:nvPr userDrawn="1"/>
        </p:nvSpPr>
        <p:spPr bwMode="black">
          <a:xfrm>
            <a:off x="479376" y="1485753"/>
            <a:ext cx="7858800" cy="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52000" indent="-252000" algn="l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00" noProof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="" xmlns:a16="http://schemas.microsoft.com/office/drawing/2014/main" id="{C5B517CC-F5FC-4F7C-8D7B-48606653431B}"/>
              </a:ext>
            </a:extLst>
          </p:cNvPr>
          <p:cNvSpPr/>
          <p:nvPr userDrawn="1"/>
        </p:nvSpPr>
        <p:spPr bwMode="black">
          <a:xfrm>
            <a:off x="480000" y="6036831"/>
            <a:ext cx="11232000" cy="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52000" indent="-252000" algn="l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00" noProof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="" xmlns:a16="http://schemas.microsoft.com/office/drawing/2014/main" id="{04162C2E-0C88-4C8D-B1FF-27F6880EC20D}"/>
              </a:ext>
            </a:extLst>
          </p:cNvPr>
          <p:cNvSpPr/>
          <p:nvPr userDrawn="1"/>
        </p:nvSpPr>
        <p:spPr bwMode="black">
          <a:xfrm rot="16200000">
            <a:off x="-1796163" y="3761292"/>
            <a:ext cx="4572678" cy="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52000" indent="-252000" algn="l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00" noProof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="" xmlns:a16="http://schemas.microsoft.com/office/drawing/2014/main" id="{EEEBBBA5-6A9C-4A59-891D-6F99C4E1EB95}"/>
              </a:ext>
            </a:extLst>
          </p:cNvPr>
          <p:cNvSpPr/>
          <p:nvPr userDrawn="1"/>
        </p:nvSpPr>
        <p:spPr bwMode="black">
          <a:xfrm rot="16200000">
            <a:off x="9414861" y="3761292"/>
            <a:ext cx="4572678" cy="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52000" indent="-252000" algn="l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00" noProof="0">
              <a:solidFill>
                <a:schemeClr val="tx1"/>
              </a:solidFill>
            </a:endParaRPr>
          </a:p>
        </p:txBody>
      </p:sp>
      <p:sp>
        <p:nvSpPr>
          <p:cNvPr id="31" name="Textplatzhalter 14">
            <a:extLst>
              <a:ext uri="{FF2B5EF4-FFF2-40B4-BE49-F238E27FC236}">
                <a16:creationId xmlns="" xmlns:a16="http://schemas.microsoft.com/office/drawing/2014/main" id="{BAC79A11-F944-443B-A5E2-E8FDAD4CED3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8375114" y="5537367"/>
            <a:ext cx="3011669" cy="261610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Data classification: Internal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="" xmlns:a16="http://schemas.microsoft.com/office/drawing/2014/main" id="{A92DE6E2-A795-4D1D-AE55-7CB21C64B9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5624" y="1951976"/>
            <a:ext cx="2628570" cy="380068"/>
          </a:xfrm>
          <a:blipFill>
            <a:blip r:embed="rId6"/>
            <a:srcRect/>
            <a:stretch>
              <a:fillRect t="10193" b="10193"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pic>
        <p:nvPicPr>
          <p:cNvPr id="54" name="Grafik 53">
            <a:extLst>
              <a:ext uri="{FF2B5EF4-FFF2-40B4-BE49-F238E27FC236}">
                <a16:creationId xmlns="" xmlns:a16="http://schemas.microsoft.com/office/drawing/2014/main" id="{8B0C2FE6-7E47-4AEC-BD83-211D0E04AD5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8577253" y="1110199"/>
            <a:ext cx="2255720" cy="77005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773364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="" xmlns:a16="http://schemas.microsoft.com/office/drawing/2014/main" id="{C91D337C-BD62-4FD0-91F1-8F3ED8DD6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83207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7508" name="think-cell Folie" r:id="rId4" imgW="360" imgH="360" progId="">
              <p:embed/>
            </p:oleObj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6133BB50-2654-41BF-9A51-E549F385A2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 dirty="0"/>
              <a:t>Placeholder subtitle (optional)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425" y="1486800"/>
            <a:ext cx="11233150" cy="4571100"/>
          </a:xfrm>
        </p:spPr>
        <p:txBody>
          <a:bodyPr/>
          <a:lstStyle>
            <a:lvl1pPr>
              <a:defRPr>
                <a:latin typeface="+mj-lt"/>
              </a:defRPr>
            </a:lvl1pPr>
            <a:lvl2pPr marL="0" indent="0">
              <a:spcBef>
                <a:spcPts val="267"/>
              </a:spcBef>
              <a:defRPr sz="1800"/>
            </a:lvl2pPr>
            <a:lvl3pPr marL="431979" indent="0">
              <a:spcBef>
                <a:spcPts val="267"/>
              </a:spcBef>
              <a:buNone/>
              <a:defRPr/>
            </a:lvl3pPr>
            <a:lvl4pPr marL="0" marR="0" indent="0" algn="l" defTabSz="121914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4pPr>
            <a:lvl5pPr marL="431979" indent="0">
              <a:spcBef>
                <a:spcPts val="267"/>
              </a:spcBef>
              <a:buNone/>
              <a:defRPr/>
            </a:lvl5pPr>
          </a:lstStyle>
          <a:p>
            <a:pPr lvl="0"/>
            <a:r>
              <a:rPr lang="en-US" noProof="0" dirty="0"/>
              <a:t>X.X Chapter title </a:t>
            </a:r>
          </a:p>
          <a:p>
            <a:pPr lvl="1"/>
            <a:r>
              <a:rPr lang="en-US" noProof="0" dirty="0"/>
              <a:t>X.X Sub-chapter  </a:t>
            </a:r>
          </a:p>
          <a:p>
            <a:pPr lvl="1"/>
            <a:r>
              <a:rPr lang="en-US" noProof="0" dirty="0"/>
              <a:t>X.X Sub-chapter</a:t>
            </a:r>
          </a:p>
          <a:p>
            <a:pPr lvl="1"/>
            <a:r>
              <a:rPr lang="en-US" noProof="0" dirty="0"/>
              <a:t>X.X Sub-chapter  </a:t>
            </a:r>
          </a:p>
          <a:p>
            <a:pPr lvl="1"/>
            <a:r>
              <a:rPr lang="en-US" noProof="0" dirty="0"/>
              <a:t>X.X Sub-chapter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C8A448A2-CF0D-48A7-AA33-8917BBEDE82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Creation date: </a:t>
            </a:r>
            <a:r>
              <a:rPr lang="en-US" noProof="0" dirty="0" err="1"/>
              <a:t>mm.dd.yy</a:t>
            </a:r>
            <a:r>
              <a:rPr lang="en-US" noProof="0" dirty="0"/>
              <a:t> | Responsible department for filing: </a:t>
            </a:r>
            <a:r>
              <a:rPr lang="en-US" noProof="0" dirty="0" err="1"/>
              <a:t>xxxx</a:t>
            </a:r>
            <a:r>
              <a:rPr lang="en-US" noProof="0" dirty="0"/>
              <a:t>-xx | CSD-Class: </a:t>
            </a:r>
            <a:r>
              <a:rPr lang="en-US" noProof="0" dirty="0" err="1"/>
              <a:t>xx.x</a:t>
            </a:r>
            <a:r>
              <a:rPr lang="en-US" noProof="0" dirty="0"/>
              <a:t> – xx year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0EA84592-33AD-4E01-99FE-058C8D6288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1233150" cy="360099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genda</a:t>
            </a:r>
          </a:p>
        </p:txBody>
      </p:sp>
    </p:spTree>
    <p:extLst>
      <p:ext uri="{BB962C8B-B14F-4D97-AF65-F5344CB8AC3E}">
        <p14:creationId xmlns="" xmlns:p14="http://schemas.microsoft.com/office/powerpoint/2010/main" val="3431173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="" xmlns:a16="http://schemas.microsoft.com/office/drawing/2014/main" id="{AA6E4A92-0E3B-4752-9F11-B5F2ED2D35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143499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8532" name="think-cell Folie" r:id="rId5" imgW="360" imgH="360" progId="">
              <p:embed/>
            </p:oleObj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="" xmlns:a16="http://schemas.microsoft.com/office/drawing/2014/main" id="{13C18F00-6AEC-4566-B9A4-C09826D8DF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="" xmlns:a16="http://schemas.microsoft.com/office/drawing/2014/main" id="{7BDB83B6-6043-46C4-81FA-7D14164298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486800"/>
            <a:ext cx="11232000" cy="4571100"/>
          </a:xfrm>
        </p:spPr>
        <p:txBody>
          <a:bodyPr/>
          <a:lstStyle>
            <a:lvl1pPr marL="360363" indent="-360363">
              <a:spcBef>
                <a:spcPts val="0"/>
              </a:spcBef>
              <a:buSzPct val="100000"/>
              <a:buFont typeface="VW Text Office" panose="020B0503040200000003" pitchFamily="34" charset="0"/>
              <a:buChar char="–"/>
              <a:defRPr sz="2800">
                <a:latin typeface="+mn-lt"/>
              </a:defRPr>
            </a:lvl1pPr>
            <a:lvl2pPr marL="360363" indent="-360363">
              <a:spcBef>
                <a:spcPts val="0"/>
              </a:spcBef>
              <a:buSzPct val="100000"/>
              <a:buFont typeface="VW Text Office" panose="020B0503040200000003" pitchFamily="34" charset="0"/>
              <a:buChar char="–"/>
              <a:defRPr sz="2800">
                <a:latin typeface="+mn-lt"/>
              </a:defRPr>
            </a:lvl2pPr>
            <a:lvl3pPr marL="360363" indent="-360363">
              <a:spcBef>
                <a:spcPts val="0"/>
              </a:spcBef>
              <a:buSzPct val="100000"/>
              <a:buFont typeface="VW Text Office" panose="020B0503040200000003" pitchFamily="34" charset="0"/>
              <a:buChar char="–"/>
              <a:defRPr sz="2800">
                <a:latin typeface="+mn-lt"/>
              </a:defRPr>
            </a:lvl3pPr>
            <a:lvl4pPr marL="360363" indent="-360363">
              <a:spcBef>
                <a:spcPts val="0"/>
              </a:spcBef>
              <a:buSzPct val="100000"/>
              <a:buFont typeface="VW Text Office" panose="020B0503040200000003" pitchFamily="34" charset="0"/>
              <a:buChar char="–"/>
              <a:defRPr sz="2800">
                <a:latin typeface="+mn-lt"/>
              </a:defRPr>
            </a:lvl4pPr>
          </a:lstStyle>
          <a:p>
            <a:pPr lvl="2"/>
            <a:r>
              <a:rPr lang="en-US" noProof="0"/>
              <a:t>First level</a:t>
            </a:r>
          </a:p>
          <a:p>
            <a:pPr lvl="1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  <a:p>
            <a:pPr lvl="3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CC16119A-26FC-4219-9DF8-5A5F5D953C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7EEE1F8F-8B92-45FC-B45E-7E8D3E6D90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8801" y="309600"/>
            <a:ext cx="11236801" cy="360099"/>
          </a:xfrm>
        </p:spPr>
        <p:txBody>
          <a:bodyPr>
            <a:spAutoFit/>
          </a:bodyPr>
          <a:lstStyle>
            <a:lvl1pPr>
              <a:defRPr b="0"/>
            </a:lvl1pPr>
          </a:lstStyle>
          <a:p>
            <a:r>
              <a:rPr lang="en-US" noProof="0"/>
              <a:t>Placeholder slide title</a:t>
            </a:r>
          </a:p>
        </p:txBody>
      </p:sp>
    </p:spTree>
    <p:extLst>
      <p:ext uri="{BB962C8B-B14F-4D97-AF65-F5344CB8AC3E}">
        <p14:creationId xmlns="" xmlns:p14="http://schemas.microsoft.com/office/powerpoint/2010/main" val="5685718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="" xmlns:a16="http://schemas.microsoft.com/office/drawing/2014/main" id="{9571ABA2-A5E0-4675-9288-E832905D51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813375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9556" name="think-cell Folie" r:id="rId5" imgW="360" imgH="360" progId="">
              <p:embed/>
            </p:oleObj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="" xmlns:a16="http://schemas.microsoft.com/office/drawing/2014/main" id="{77676C33-8EDE-4125-AB0E-757CC6A1F9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="" xmlns:a16="http://schemas.microsoft.com/office/drawing/2014/main" id="{50CEAC35-718A-42D0-9570-3F6A350F5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/>
              <a:t>Placeholder subtitle (optional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68BC9BD7-B3E3-458E-86D3-8FB80588B1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 smtClean="0"/>
              <a:t>2022 / 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3FA9CAE6-6CD7-4DC8-8C6F-48AA1C88B3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1233150" cy="360099"/>
          </a:xfrm>
        </p:spPr>
        <p:txBody>
          <a:bodyPr>
            <a:spAutoFit/>
          </a:bodyPr>
          <a:lstStyle>
            <a:lvl1pPr>
              <a:defRPr b="0"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="" xmlns:a16="http://schemas.microsoft.com/office/drawing/2014/main" id="{4876B7B5-41C7-45A0-BA80-3013501395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1486800"/>
            <a:ext cx="9685338" cy="45711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Placeholder Subtit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4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5199325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640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and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="" xmlns:a16="http://schemas.microsoft.com/office/drawing/2014/main" id="{A9FE66A3-4409-4D25-8FFE-EA50DD95B6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319009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0580" name="think-cell Folie" r:id="rId5" imgW="360" imgH="360" progId="">
              <p:embed/>
            </p:oleObj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="" xmlns:a16="http://schemas.microsoft.com/office/drawing/2014/main" id="{57442D48-80E3-44A4-ADD0-965EB5F1A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="" xmlns:a16="http://schemas.microsoft.com/office/drawing/2014/main" id="{EF7F83A2-76F6-4705-9F77-89F7B698CA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/>
              <a:t>Placeholder subtitle (optional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729A9924-46BA-4271-B7B0-0BB0854A09E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479494AB-F984-4B4A-8268-3EDD29D9F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b="0"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="" xmlns:a16="http://schemas.microsoft.com/office/drawing/2014/main" id="{1E507019-BD35-4632-9AE5-FD2EF11CE4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1486800"/>
            <a:ext cx="5508625" cy="45711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Placeholder Subtit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Third level</a:t>
            </a:r>
          </a:p>
          <a:p>
            <a:pPr lvl="4"/>
            <a:r>
              <a:rPr lang="en-US" noProof="0"/>
              <a:t>Third lev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="" xmlns:a16="http://schemas.microsoft.com/office/drawing/2014/main" id="{1B86F7DE-BC3C-4818-935D-88EC42DA9C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03950" y="1486800"/>
            <a:ext cx="5508625" cy="45711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Placeholder Subtit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Third level</a:t>
            </a:r>
          </a:p>
          <a:p>
            <a:pPr lvl="4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386179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="" xmlns:a16="http://schemas.microsoft.com/office/drawing/2014/main" id="{7FC7FFD1-6D32-4B02-9850-3BC5FE828E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89128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1604" name="think-cell Folie" r:id="rId5" imgW="360" imgH="360" progId="">
              <p:embed/>
            </p:oleObj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="" xmlns:a16="http://schemas.microsoft.com/office/drawing/2014/main" id="{BC680795-43FC-4537-AA8B-EE9F9657A9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7" name="Textplatzhalter 7">
            <a:extLst>
              <a:ext uri="{FF2B5EF4-FFF2-40B4-BE49-F238E27FC236}">
                <a16:creationId xmlns="" xmlns:a16="http://schemas.microsoft.com/office/drawing/2014/main" id="{F1541FED-60FA-4A6C-9455-E501F5CACB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/>
              <a:t>Placeholder subtitle (optional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68BC9BD7-B3E3-458E-86D3-8FB80588B1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3FA9CAE6-6CD7-4DC8-8C6F-48AA1C88B3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1233150" cy="360099"/>
          </a:xfrm>
        </p:spPr>
        <p:txBody>
          <a:bodyPr>
            <a:spAutoFit/>
          </a:bodyPr>
          <a:lstStyle>
            <a:lvl1pPr>
              <a:defRPr b="0"/>
            </a:lvl1pPr>
          </a:lstStyle>
          <a:p>
            <a:r>
              <a:rPr lang="en-US" noProof="0"/>
              <a:t>Placeholder slide title</a:t>
            </a:r>
          </a:p>
        </p:txBody>
      </p:sp>
    </p:spTree>
    <p:extLst>
      <p:ext uri="{BB962C8B-B14F-4D97-AF65-F5344CB8AC3E}">
        <p14:creationId xmlns="" xmlns:p14="http://schemas.microsoft.com/office/powerpoint/2010/main" val="6772942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light bl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="" xmlns:a16="http://schemas.microsoft.com/office/drawing/2014/main" id="{AD14386E-0E29-4B56-8F78-B4C3BA76DB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16599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5060" name="think-cell Folie" r:id="rId4" imgW="360" imgH="360" progId="">
              <p:embed/>
            </p:oleObj>
          </a:graphicData>
        </a:graphic>
      </p:graphicFrame>
      <p:sp>
        <p:nvSpPr>
          <p:cNvPr id="24" name="Textplatzhalter 6">
            <a:extLst>
              <a:ext uri="{FF2B5EF4-FFF2-40B4-BE49-F238E27FC236}">
                <a16:creationId xmlns="" xmlns:a16="http://schemas.microsoft.com/office/drawing/2014/main" id="{A3E8B5A2-2FEF-4968-9A2F-DBFBFFE94D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478801" y="2462796"/>
            <a:ext cx="11233774" cy="1994392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7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scribing Copy in</a:t>
            </a:r>
            <a:br>
              <a:rPr lang="en-US" noProof="0"/>
            </a:br>
            <a:r>
              <a:rPr lang="en-US" noProof="0"/>
              <a:t>VW Text Office 72 pt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="" xmlns:a16="http://schemas.microsoft.com/office/drawing/2014/main" id="{EBD77B1D-145A-41BC-889E-71FD204B5F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="" xmlns:a16="http://schemas.microsoft.com/office/drawing/2014/main" id="{449CCD52-DEF5-4214-BB2D-D627AFE9B3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9" name="Gerade Verbindung 6">
            <a:extLst>
              <a:ext uri="{FF2B5EF4-FFF2-40B4-BE49-F238E27FC236}">
                <a16:creationId xmlns="" xmlns:a16="http://schemas.microsoft.com/office/drawing/2014/main" id="{2D27F19A-02B5-4B3A-B1F7-1983C6E78FB7}"/>
              </a:ext>
            </a:extLst>
          </p:cNvPr>
          <p:cNvCxnSpPr/>
          <p:nvPr userDrawn="1"/>
        </p:nvCxnSpPr>
        <p:spPr bwMode="black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>
            <a:extLst>
              <a:ext uri="{FF2B5EF4-FFF2-40B4-BE49-F238E27FC236}">
                <a16:creationId xmlns="" xmlns:a16="http://schemas.microsoft.com/office/drawing/2014/main" id="{4739F779-27AF-44C9-B417-49572B3AEB83}"/>
              </a:ext>
            </a:extLst>
          </p:cNvPr>
          <p:cNvCxnSpPr/>
          <p:nvPr userDrawn="1"/>
        </p:nvCxnSpPr>
        <p:spPr bwMode="black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8">
            <a:extLst>
              <a:ext uri="{FF2B5EF4-FFF2-40B4-BE49-F238E27FC236}">
                <a16:creationId xmlns="" xmlns:a16="http://schemas.microsoft.com/office/drawing/2014/main" id="{21699CE5-3ED9-489F-A10F-28D4E7F0C4E9}"/>
              </a:ext>
            </a:extLst>
          </p:cNvPr>
          <p:cNvCxnSpPr/>
          <p:nvPr userDrawn="1"/>
        </p:nvCxnSpPr>
        <p:spPr bwMode="black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9">
            <a:extLst>
              <a:ext uri="{FF2B5EF4-FFF2-40B4-BE49-F238E27FC236}">
                <a16:creationId xmlns="" xmlns:a16="http://schemas.microsoft.com/office/drawing/2014/main" id="{E5A01179-7CBF-4569-9F7C-E313EFADAF18}"/>
              </a:ext>
            </a:extLst>
          </p:cNvPr>
          <p:cNvCxnSpPr/>
          <p:nvPr userDrawn="1"/>
        </p:nvCxnSpPr>
        <p:spPr bwMode="black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0">
            <a:extLst>
              <a:ext uri="{FF2B5EF4-FFF2-40B4-BE49-F238E27FC236}">
                <a16:creationId xmlns="" xmlns:a16="http://schemas.microsoft.com/office/drawing/2014/main" id="{69CBB15F-2671-480D-8B19-A904654E2D89}"/>
              </a:ext>
            </a:extLst>
          </p:cNvPr>
          <p:cNvCxnSpPr/>
          <p:nvPr userDrawn="1"/>
        </p:nvCxnSpPr>
        <p:spPr bwMode="black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1">
            <a:extLst>
              <a:ext uri="{FF2B5EF4-FFF2-40B4-BE49-F238E27FC236}">
                <a16:creationId xmlns="" xmlns:a16="http://schemas.microsoft.com/office/drawing/2014/main" id="{50EAF6B6-6124-408A-9E77-D61BC07CECBD}"/>
              </a:ext>
            </a:extLst>
          </p:cNvPr>
          <p:cNvCxnSpPr/>
          <p:nvPr userDrawn="1"/>
        </p:nvCxnSpPr>
        <p:spPr bwMode="black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2">
            <a:extLst>
              <a:ext uri="{FF2B5EF4-FFF2-40B4-BE49-F238E27FC236}">
                <a16:creationId xmlns="" xmlns:a16="http://schemas.microsoft.com/office/drawing/2014/main" id="{406A00F8-4935-450A-AFD4-64D14D499B63}"/>
              </a:ext>
            </a:extLst>
          </p:cNvPr>
          <p:cNvCxnSpPr/>
          <p:nvPr userDrawn="1"/>
        </p:nvCxnSpPr>
        <p:spPr bwMode="black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>
            <a:extLst>
              <a:ext uri="{FF2B5EF4-FFF2-40B4-BE49-F238E27FC236}">
                <a16:creationId xmlns="" xmlns:a16="http://schemas.microsoft.com/office/drawing/2014/main" id="{E810F51C-3785-44ED-87F3-07BBDAD2CB29}"/>
              </a:ext>
            </a:extLst>
          </p:cNvPr>
          <p:cNvCxnSpPr/>
          <p:nvPr userDrawn="1"/>
        </p:nvCxnSpPr>
        <p:spPr bwMode="black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>
            <a:extLst>
              <a:ext uri="{FF2B5EF4-FFF2-40B4-BE49-F238E27FC236}">
                <a16:creationId xmlns="" xmlns:a16="http://schemas.microsoft.com/office/drawing/2014/main" id="{D6808B54-3E5D-436B-83B9-518A4132601C}"/>
              </a:ext>
            </a:extLst>
          </p:cNvPr>
          <p:cNvCxnSpPr/>
          <p:nvPr userDrawn="1"/>
        </p:nvCxnSpPr>
        <p:spPr bwMode="black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>
            <a:extLst>
              <a:ext uri="{FF2B5EF4-FFF2-40B4-BE49-F238E27FC236}">
                <a16:creationId xmlns="" xmlns:a16="http://schemas.microsoft.com/office/drawing/2014/main" id="{0DBF4752-CC46-427B-9D69-5B1AB73CBBBF}"/>
              </a:ext>
            </a:extLst>
          </p:cNvPr>
          <p:cNvCxnSpPr/>
          <p:nvPr userDrawn="1"/>
        </p:nvCxnSpPr>
        <p:spPr bwMode="black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18">
            <a:extLst>
              <a:ext uri="{FF2B5EF4-FFF2-40B4-BE49-F238E27FC236}">
                <a16:creationId xmlns="" xmlns:a16="http://schemas.microsoft.com/office/drawing/2014/main" id="{C39179A2-2D78-4995-8DE3-6CAD5AA99342}"/>
              </a:ext>
            </a:extLst>
          </p:cNvPr>
          <p:cNvCxnSpPr/>
          <p:nvPr userDrawn="1"/>
        </p:nvCxnSpPr>
        <p:spPr bwMode="black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19">
            <a:extLst>
              <a:ext uri="{FF2B5EF4-FFF2-40B4-BE49-F238E27FC236}">
                <a16:creationId xmlns="" xmlns:a16="http://schemas.microsoft.com/office/drawing/2014/main" id="{2DC8EFFB-1676-4D98-95FE-5BCA19291077}"/>
              </a:ext>
            </a:extLst>
          </p:cNvPr>
          <p:cNvCxnSpPr/>
          <p:nvPr userDrawn="1"/>
        </p:nvCxnSpPr>
        <p:spPr bwMode="black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11">
            <a:extLst>
              <a:ext uri="{FF2B5EF4-FFF2-40B4-BE49-F238E27FC236}">
                <a16:creationId xmlns="" xmlns:a16="http://schemas.microsoft.com/office/drawing/2014/main" id="{1DEDC508-21B9-44E3-993F-775B6B1D1565}"/>
              </a:ext>
            </a:extLst>
          </p:cNvPr>
          <p:cNvCxnSpPr/>
          <p:nvPr userDrawn="1"/>
        </p:nvCxnSpPr>
        <p:spPr bwMode="black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13">
            <a:extLst>
              <a:ext uri="{FF2B5EF4-FFF2-40B4-BE49-F238E27FC236}">
                <a16:creationId xmlns="" xmlns:a16="http://schemas.microsoft.com/office/drawing/2014/main" id="{01DB8B62-9545-4F83-AB0A-E72AA2169356}"/>
              </a:ext>
            </a:extLst>
          </p:cNvPr>
          <p:cNvCxnSpPr/>
          <p:nvPr userDrawn="1"/>
        </p:nvCxnSpPr>
        <p:spPr bwMode="black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78801" y="1484313"/>
            <a:ext cx="11233774" cy="99719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7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VW Head Office Bold 72 pt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="" xmlns:a16="http://schemas.microsoft.com/office/drawing/2014/main" id="{ABFDEAA4-23BA-44B5-BC90-28348D7CFDE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064575" y="60579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378943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="" xmlns:a16="http://schemas.microsoft.com/office/drawing/2014/main" id="{ECED6F0C-9CB4-49DC-B418-B1E46CCF80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253865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6084" name="think-cell Folie" r:id="rId4" imgW="360" imgH="360" progId="">
              <p:embed/>
            </p:oleObj>
          </a:graphicData>
        </a:graphic>
      </p:graphicFrame>
      <p:sp>
        <p:nvSpPr>
          <p:cNvPr id="22" name="Textplatzhalter 6">
            <a:extLst>
              <a:ext uri="{FF2B5EF4-FFF2-40B4-BE49-F238E27FC236}">
                <a16:creationId xmlns="" xmlns:a16="http://schemas.microsoft.com/office/drawing/2014/main" id="{25904729-F970-4E8A-9537-BB16FECBCA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478801" y="2462796"/>
            <a:ext cx="11233774" cy="1994392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7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scribing Copy in</a:t>
            </a:r>
            <a:br>
              <a:rPr lang="en-US" noProof="0"/>
            </a:br>
            <a:r>
              <a:rPr lang="en-US" noProof="0"/>
              <a:t>VW Text Office 72 pt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1F3631CD-0448-4FC8-B44F-66C3074C4D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="" xmlns:a16="http://schemas.microsoft.com/office/drawing/2014/main" id="{E644A2AE-C307-4113-B955-6036184E5F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9" name="Gerade Verbindung 6">
            <a:extLst>
              <a:ext uri="{FF2B5EF4-FFF2-40B4-BE49-F238E27FC236}">
                <a16:creationId xmlns="" xmlns:a16="http://schemas.microsoft.com/office/drawing/2014/main" id="{B13F2F1D-142F-46A2-B88F-16D1FAFD3FBE}"/>
              </a:ext>
            </a:extLst>
          </p:cNvPr>
          <p:cNvCxnSpPr/>
          <p:nvPr userDrawn="1"/>
        </p:nvCxnSpPr>
        <p:spPr bwMode="black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7">
            <a:extLst>
              <a:ext uri="{FF2B5EF4-FFF2-40B4-BE49-F238E27FC236}">
                <a16:creationId xmlns="" xmlns:a16="http://schemas.microsoft.com/office/drawing/2014/main" id="{A9D322D1-3670-418C-BFCF-775FD2BBC992}"/>
              </a:ext>
            </a:extLst>
          </p:cNvPr>
          <p:cNvCxnSpPr/>
          <p:nvPr userDrawn="1"/>
        </p:nvCxnSpPr>
        <p:spPr bwMode="black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8">
            <a:extLst>
              <a:ext uri="{FF2B5EF4-FFF2-40B4-BE49-F238E27FC236}">
                <a16:creationId xmlns="" xmlns:a16="http://schemas.microsoft.com/office/drawing/2014/main" id="{70C40AE6-B1C1-4B1A-B9DF-7AA6FC2EFA3E}"/>
              </a:ext>
            </a:extLst>
          </p:cNvPr>
          <p:cNvCxnSpPr/>
          <p:nvPr userDrawn="1"/>
        </p:nvCxnSpPr>
        <p:spPr bwMode="black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9">
            <a:extLst>
              <a:ext uri="{FF2B5EF4-FFF2-40B4-BE49-F238E27FC236}">
                <a16:creationId xmlns="" xmlns:a16="http://schemas.microsoft.com/office/drawing/2014/main" id="{FE864D00-583E-485B-8FF3-DFEC5A1965ED}"/>
              </a:ext>
            </a:extLst>
          </p:cNvPr>
          <p:cNvCxnSpPr/>
          <p:nvPr userDrawn="1"/>
        </p:nvCxnSpPr>
        <p:spPr bwMode="black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>
            <a:extLst>
              <a:ext uri="{FF2B5EF4-FFF2-40B4-BE49-F238E27FC236}">
                <a16:creationId xmlns="" xmlns:a16="http://schemas.microsoft.com/office/drawing/2014/main" id="{AEAAACC8-EB7F-423F-AA87-317D37875927}"/>
              </a:ext>
            </a:extLst>
          </p:cNvPr>
          <p:cNvCxnSpPr/>
          <p:nvPr userDrawn="1"/>
        </p:nvCxnSpPr>
        <p:spPr bwMode="black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>
            <a:extLst>
              <a:ext uri="{FF2B5EF4-FFF2-40B4-BE49-F238E27FC236}">
                <a16:creationId xmlns="" xmlns:a16="http://schemas.microsoft.com/office/drawing/2014/main" id="{766CD0E4-C6D7-4335-922B-EF6C22BF2877}"/>
              </a:ext>
            </a:extLst>
          </p:cNvPr>
          <p:cNvCxnSpPr/>
          <p:nvPr userDrawn="1"/>
        </p:nvCxnSpPr>
        <p:spPr bwMode="black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>
            <a:extLst>
              <a:ext uri="{FF2B5EF4-FFF2-40B4-BE49-F238E27FC236}">
                <a16:creationId xmlns="" xmlns:a16="http://schemas.microsoft.com/office/drawing/2014/main" id="{1013BB6C-2ED2-493B-ABDD-69A649518C22}"/>
              </a:ext>
            </a:extLst>
          </p:cNvPr>
          <p:cNvCxnSpPr/>
          <p:nvPr userDrawn="1"/>
        </p:nvCxnSpPr>
        <p:spPr bwMode="black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>
            <a:extLst>
              <a:ext uri="{FF2B5EF4-FFF2-40B4-BE49-F238E27FC236}">
                <a16:creationId xmlns="" xmlns:a16="http://schemas.microsoft.com/office/drawing/2014/main" id="{84D3224A-4385-4610-8305-A992EA1EBC43}"/>
              </a:ext>
            </a:extLst>
          </p:cNvPr>
          <p:cNvCxnSpPr/>
          <p:nvPr userDrawn="1"/>
        </p:nvCxnSpPr>
        <p:spPr bwMode="black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>
            <a:extLst>
              <a:ext uri="{FF2B5EF4-FFF2-40B4-BE49-F238E27FC236}">
                <a16:creationId xmlns="" xmlns:a16="http://schemas.microsoft.com/office/drawing/2014/main" id="{6DBE71F3-1AFA-4DC0-A110-F252DA0B8483}"/>
              </a:ext>
            </a:extLst>
          </p:cNvPr>
          <p:cNvCxnSpPr/>
          <p:nvPr userDrawn="1"/>
        </p:nvCxnSpPr>
        <p:spPr bwMode="black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>
            <a:extLst>
              <a:ext uri="{FF2B5EF4-FFF2-40B4-BE49-F238E27FC236}">
                <a16:creationId xmlns="" xmlns:a16="http://schemas.microsoft.com/office/drawing/2014/main" id="{A47E4ED5-EF11-4F7A-9C7D-66B14DC23752}"/>
              </a:ext>
            </a:extLst>
          </p:cNvPr>
          <p:cNvCxnSpPr/>
          <p:nvPr userDrawn="1"/>
        </p:nvCxnSpPr>
        <p:spPr bwMode="black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>
            <a:extLst>
              <a:ext uri="{FF2B5EF4-FFF2-40B4-BE49-F238E27FC236}">
                <a16:creationId xmlns="" xmlns:a16="http://schemas.microsoft.com/office/drawing/2014/main" id="{A6E538F1-0D9E-4094-BC94-DDFDA59276BD}"/>
              </a:ext>
            </a:extLst>
          </p:cNvPr>
          <p:cNvCxnSpPr/>
          <p:nvPr userDrawn="1"/>
        </p:nvCxnSpPr>
        <p:spPr bwMode="black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>
            <a:extLst>
              <a:ext uri="{FF2B5EF4-FFF2-40B4-BE49-F238E27FC236}">
                <a16:creationId xmlns="" xmlns:a16="http://schemas.microsoft.com/office/drawing/2014/main" id="{3B10BD48-3E54-42B6-B79B-B0E1D895137F}"/>
              </a:ext>
            </a:extLst>
          </p:cNvPr>
          <p:cNvCxnSpPr/>
          <p:nvPr userDrawn="1"/>
        </p:nvCxnSpPr>
        <p:spPr bwMode="black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1">
            <a:extLst>
              <a:ext uri="{FF2B5EF4-FFF2-40B4-BE49-F238E27FC236}">
                <a16:creationId xmlns="" xmlns:a16="http://schemas.microsoft.com/office/drawing/2014/main" id="{4238C2EA-ED7F-471E-87BB-48D4B2FE7004}"/>
              </a:ext>
            </a:extLst>
          </p:cNvPr>
          <p:cNvCxnSpPr/>
          <p:nvPr userDrawn="1"/>
        </p:nvCxnSpPr>
        <p:spPr bwMode="black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3">
            <a:extLst>
              <a:ext uri="{FF2B5EF4-FFF2-40B4-BE49-F238E27FC236}">
                <a16:creationId xmlns="" xmlns:a16="http://schemas.microsoft.com/office/drawing/2014/main" id="{A8D070A0-B8A7-46B6-96BB-10CE161D33E9}"/>
              </a:ext>
            </a:extLst>
          </p:cNvPr>
          <p:cNvCxnSpPr/>
          <p:nvPr userDrawn="1"/>
        </p:nvCxnSpPr>
        <p:spPr bwMode="black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79425" y="1484313"/>
            <a:ext cx="11233150" cy="99719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7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VW Head Office Bold 72 </a:t>
            </a:r>
          </a:p>
        </p:txBody>
      </p:sp>
      <p:pic>
        <p:nvPicPr>
          <p:cNvPr id="43" name="Grafik 42">
            <a:extLst>
              <a:ext uri="{FF2B5EF4-FFF2-40B4-BE49-F238E27FC236}">
                <a16:creationId xmlns="" xmlns:a16="http://schemas.microsoft.com/office/drawing/2014/main" id="{A22B5128-93A6-4313-938C-A150C9A355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064575" y="60579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4319152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and dark pictur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="" xmlns:a16="http://schemas.microsoft.com/office/drawing/2014/main" id="{638E0913-285A-473B-B842-CF5D482E5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831392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7108" name="think-cell Folie" r:id="rId4" imgW="360" imgH="360" progId="">
              <p:embed/>
            </p:oleObj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12192000" cy="6858000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vert="horz" wrap="square" lIns="5760000" tIns="0" rIns="0" bIns="0" rtlCol="0" anchor="ctr">
            <a:noAutofit/>
          </a:bodyPr>
          <a:lstStyle>
            <a:lvl1pPr algn="ctr">
              <a:spcBef>
                <a:spcPts val="0"/>
              </a:spcBef>
              <a:defRPr lang="en-US" sz="1700" noProof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 noProof="0"/>
              <a:t>Insert a dark image by clicking on symbol on the left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598645C0-6A6B-47AB-AFED-F4AEB8CFD7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864000" y="6551476"/>
            <a:ext cx="6516000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03EAD713-8F9A-4C67-8A5A-5C20AFA22C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478801" y="6551476"/>
            <a:ext cx="360040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1" name="Gerade Verbindung 6">
            <a:extLst>
              <a:ext uri="{FF2B5EF4-FFF2-40B4-BE49-F238E27FC236}">
                <a16:creationId xmlns="" xmlns:a16="http://schemas.microsoft.com/office/drawing/2014/main" id="{08081944-A579-44D7-9595-E46591CA6237}"/>
              </a:ext>
            </a:extLst>
          </p:cNvPr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>
            <a:extLst>
              <a:ext uri="{FF2B5EF4-FFF2-40B4-BE49-F238E27FC236}">
                <a16:creationId xmlns="" xmlns:a16="http://schemas.microsoft.com/office/drawing/2014/main" id="{DC1F0DBE-AEAD-415C-9C0B-7409EFDA444D}"/>
              </a:ext>
            </a:extLst>
          </p:cNvPr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>
            <a:extLst>
              <a:ext uri="{FF2B5EF4-FFF2-40B4-BE49-F238E27FC236}">
                <a16:creationId xmlns="" xmlns:a16="http://schemas.microsoft.com/office/drawing/2014/main" id="{9C2BBB53-1E3F-49EE-B71A-FBF2E1B7A3E1}"/>
              </a:ext>
            </a:extLst>
          </p:cNvPr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>
            <a:extLst>
              <a:ext uri="{FF2B5EF4-FFF2-40B4-BE49-F238E27FC236}">
                <a16:creationId xmlns="" xmlns:a16="http://schemas.microsoft.com/office/drawing/2014/main" id="{29FB8B4B-FB23-4F04-8FD2-F3BD2EFDF84E}"/>
              </a:ext>
            </a:extLst>
          </p:cNvPr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>
            <a:extLst>
              <a:ext uri="{FF2B5EF4-FFF2-40B4-BE49-F238E27FC236}">
                <a16:creationId xmlns="" xmlns:a16="http://schemas.microsoft.com/office/drawing/2014/main" id="{BE4E8380-67FB-475B-BC59-2FA194E83D55}"/>
              </a:ext>
            </a:extLst>
          </p:cNvPr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>
            <a:extLst>
              <a:ext uri="{FF2B5EF4-FFF2-40B4-BE49-F238E27FC236}">
                <a16:creationId xmlns="" xmlns:a16="http://schemas.microsoft.com/office/drawing/2014/main" id="{18F7817E-2CF7-415C-A54D-44262B5762F6}"/>
              </a:ext>
            </a:extLst>
          </p:cNvPr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>
            <a:extLst>
              <a:ext uri="{FF2B5EF4-FFF2-40B4-BE49-F238E27FC236}">
                <a16:creationId xmlns="" xmlns:a16="http://schemas.microsoft.com/office/drawing/2014/main" id="{A491F78E-FB9E-4A13-A923-825F6F9128B9}"/>
              </a:ext>
            </a:extLst>
          </p:cNvPr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>
            <a:extLst>
              <a:ext uri="{FF2B5EF4-FFF2-40B4-BE49-F238E27FC236}">
                <a16:creationId xmlns="" xmlns:a16="http://schemas.microsoft.com/office/drawing/2014/main" id="{ED017947-F763-4F3B-B95A-F5DB17729929}"/>
              </a:ext>
            </a:extLst>
          </p:cNvPr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8">
            <a:extLst>
              <a:ext uri="{FF2B5EF4-FFF2-40B4-BE49-F238E27FC236}">
                <a16:creationId xmlns="" xmlns:a16="http://schemas.microsoft.com/office/drawing/2014/main" id="{5EB88D79-C037-4F8A-A522-16FB0236ABBF}"/>
              </a:ext>
            </a:extLst>
          </p:cNvPr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9">
            <a:extLst>
              <a:ext uri="{FF2B5EF4-FFF2-40B4-BE49-F238E27FC236}">
                <a16:creationId xmlns="" xmlns:a16="http://schemas.microsoft.com/office/drawing/2014/main" id="{D78A2862-D717-457A-9114-144AE47DD168}"/>
              </a:ext>
            </a:extLst>
          </p:cNvPr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8">
            <a:extLst>
              <a:ext uri="{FF2B5EF4-FFF2-40B4-BE49-F238E27FC236}">
                <a16:creationId xmlns="" xmlns:a16="http://schemas.microsoft.com/office/drawing/2014/main" id="{C9417BAD-EF0C-47C6-B08F-64C432483BB6}"/>
              </a:ext>
            </a:extLst>
          </p:cNvPr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19">
            <a:extLst>
              <a:ext uri="{FF2B5EF4-FFF2-40B4-BE49-F238E27FC236}">
                <a16:creationId xmlns="" xmlns:a16="http://schemas.microsoft.com/office/drawing/2014/main" id="{21D27EE5-74E1-4A6D-9932-2B5608F14496}"/>
              </a:ext>
            </a:extLst>
          </p:cNvPr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>
            <a:extLst>
              <a:ext uri="{FF2B5EF4-FFF2-40B4-BE49-F238E27FC236}">
                <a16:creationId xmlns="" xmlns:a16="http://schemas.microsoft.com/office/drawing/2014/main" id="{28197616-2DE1-4988-8EFC-19E376D56B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908833"/>
            <a:ext cx="5508000" cy="2160591"/>
          </a:xfr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scribing Copy </a:t>
            </a:r>
            <a:br>
              <a:rPr lang="en-US" noProof="0"/>
            </a:br>
            <a:r>
              <a:rPr lang="en-US" noProof="0"/>
              <a:t>in VW Text Office 52 pt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1" y="1465263"/>
            <a:ext cx="5508000" cy="1440394"/>
          </a:xfr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VW Head Office Bold 52 pt</a:t>
            </a:r>
          </a:p>
        </p:txBody>
      </p:sp>
      <p:sp>
        <p:nvSpPr>
          <p:cNvPr id="23" name="Textplatzhalter 59">
            <a:extLst>
              <a:ext uri="{FF2B5EF4-FFF2-40B4-BE49-F238E27FC236}">
                <a16:creationId xmlns="" xmlns:a16="http://schemas.microsoft.com/office/drawing/2014/main" id="{9A119588-0B02-4015-BC01-056920CA73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064575" y="6057900"/>
            <a:ext cx="648000" cy="64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1776883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and light pictur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="" xmlns:a16="http://schemas.microsoft.com/office/drawing/2014/main" id="{C1B32287-2612-4E62-9CC9-0CE18E44C2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528729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275" name="think-cell Folie" r:id="rId4" imgW="360" imgH="360" progId="">
              <p:embed/>
            </p:oleObj>
          </a:graphicData>
        </a:graphic>
      </p:graphicFrame>
      <p:sp>
        <p:nvSpPr>
          <p:cNvPr id="19" name="Bildplatzhalter 2">
            <a:extLst>
              <a:ext uri="{FF2B5EF4-FFF2-40B4-BE49-F238E27FC236}">
                <a16:creationId xmlns="" xmlns:a16="http://schemas.microsoft.com/office/drawing/2014/main" id="{C6E581E0-1C33-417C-BED0-C70FADD502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12192000" cy="6858000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vert="horz" wrap="square" lIns="5760000" tIns="0" rIns="0" bIns="0" rtlCol="0" anchor="ctr">
            <a:noAutofit/>
          </a:bodyPr>
          <a:lstStyle>
            <a:lvl1pPr algn="ctr">
              <a:spcBef>
                <a:spcPts val="0"/>
              </a:spcBef>
              <a:defRPr lang="en-US" sz="1700" noProof="0">
                <a:solidFill>
                  <a:schemeClr val="tx1"/>
                </a:solidFill>
                <a:latin typeface="+mj-lt"/>
              </a:defRPr>
            </a:lvl1pPr>
          </a:lstStyle>
          <a:p>
            <a:pPr lvl="0" algn="ctr"/>
            <a:r>
              <a:rPr lang="en-US" noProof="0"/>
              <a:t>Insert a light image by clicking on symbol on the left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598645C0-6A6B-47AB-AFED-F4AEB8CFD7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03EAD713-8F9A-4C67-8A5A-5C20AFA22C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1" name="Gerade Verbindung 6">
            <a:extLst>
              <a:ext uri="{FF2B5EF4-FFF2-40B4-BE49-F238E27FC236}">
                <a16:creationId xmlns="" xmlns:a16="http://schemas.microsoft.com/office/drawing/2014/main" id="{8DB0EDB8-F580-4526-8854-FE2273953073}"/>
              </a:ext>
            </a:extLst>
          </p:cNvPr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>
            <a:extLst>
              <a:ext uri="{FF2B5EF4-FFF2-40B4-BE49-F238E27FC236}">
                <a16:creationId xmlns="" xmlns:a16="http://schemas.microsoft.com/office/drawing/2014/main" id="{5B7B125C-964B-4824-86C1-584341B88B3F}"/>
              </a:ext>
            </a:extLst>
          </p:cNvPr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>
            <a:extLst>
              <a:ext uri="{FF2B5EF4-FFF2-40B4-BE49-F238E27FC236}">
                <a16:creationId xmlns="" xmlns:a16="http://schemas.microsoft.com/office/drawing/2014/main" id="{B56341D5-6904-4188-9D5C-91A9F7688FEC}"/>
              </a:ext>
            </a:extLst>
          </p:cNvPr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>
            <a:extLst>
              <a:ext uri="{FF2B5EF4-FFF2-40B4-BE49-F238E27FC236}">
                <a16:creationId xmlns="" xmlns:a16="http://schemas.microsoft.com/office/drawing/2014/main" id="{909CD9F8-47A8-4033-9467-296A8A580AFE}"/>
              </a:ext>
            </a:extLst>
          </p:cNvPr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>
            <a:extLst>
              <a:ext uri="{FF2B5EF4-FFF2-40B4-BE49-F238E27FC236}">
                <a16:creationId xmlns="" xmlns:a16="http://schemas.microsoft.com/office/drawing/2014/main" id="{95013FB6-EE23-4F48-8163-BF4F9B060A14}"/>
              </a:ext>
            </a:extLst>
          </p:cNvPr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>
            <a:extLst>
              <a:ext uri="{FF2B5EF4-FFF2-40B4-BE49-F238E27FC236}">
                <a16:creationId xmlns="" xmlns:a16="http://schemas.microsoft.com/office/drawing/2014/main" id="{062EB65B-2AB0-4575-9B53-28C0C48CDA25}"/>
              </a:ext>
            </a:extLst>
          </p:cNvPr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>
            <a:extLst>
              <a:ext uri="{FF2B5EF4-FFF2-40B4-BE49-F238E27FC236}">
                <a16:creationId xmlns="" xmlns:a16="http://schemas.microsoft.com/office/drawing/2014/main" id="{8CA569A0-3438-4DB7-BBAC-1D47BA73B461}"/>
              </a:ext>
            </a:extLst>
          </p:cNvPr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>
            <a:extLst>
              <a:ext uri="{FF2B5EF4-FFF2-40B4-BE49-F238E27FC236}">
                <a16:creationId xmlns="" xmlns:a16="http://schemas.microsoft.com/office/drawing/2014/main" id="{7F1C9F92-EFB7-4E4C-9622-2B5535B07C0A}"/>
              </a:ext>
            </a:extLst>
          </p:cNvPr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>
            <a:extLst>
              <a:ext uri="{FF2B5EF4-FFF2-40B4-BE49-F238E27FC236}">
                <a16:creationId xmlns="" xmlns:a16="http://schemas.microsoft.com/office/drawing/2014/main" id="{B78C8A8D-DF26-4E2D-9975-FDCAEAF7FD86}"/>
              </a:ext>
            </a:extLst>
          </p:cNvPr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>
            <a:extLst>
              <a:ext uri="{FF2B5EF4-FFF2-40B4-BE49-F238E27FC236}">
                <a16:creationId xmlns="" xmlns:a16="http://schemas.microsoft.com/office/drawing/2014/main" id="{EA82357A-75CB-400A-97D1-BB9B3F392D19}"/>
              </a:ext>
            </a:extLst>
          </p:cNvPr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>
            <a:extLst>
              <a:ext uri="{FF2B5EF4-FFF2-40B4-BE49-F238E27FC236}">
                <a16:creationId xmlns="" xmlns:a16="http://schemas.microsoft.com/office/drawing/2014/main" id="{D99A875F-7F8A-48B4-9220-CFF01457D9DE}"/>
              </a:ext>
            </a:extLst>
          </p:cNvPr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>
            <a:extLst>
              <a:ext uri="{FF2B5EF4-FFF2-40B4-BE49-F238E27FC236}">
                <a16:creationId xmlns="" xmlns:a16="http://schemas.microsoft.com/office/drawing/2014/main" id="{3AC0962B-AC61-4F22-BEB6-3705D667565C}"/>
              </a:ext>
            </a:extLst>
          </p:cNvPr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4313"/>
            <a:ext cx="5508000" cy="1440394"/>
          </a:xfrm>
        </p:spPr>
        <p:txBody>
          <a:bodyPr tIns="0" bIns="0" anchor="t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VW Head Office Bold 52 pt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="" xmlns:a16="http://schemas.microsoft.com/office/drawing/2014/main" id="{28D9A4EA-59C9-4016-B6A6-C12978B6E68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908833"/>
            <a:ext cx="5508000" cy="2160591"/>
          </a:xfr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2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scribing Copy </a:t>
            </a:r>
            <a:br>
              <a:rPr lang="en-US" noProof="0"/>
            </a:br>
            <a:r>
              <a:rPr lang="en-US" noProof="0"/>
              <a:t>in VW Text Office 52 pt</a:t>
            </a:r>
          </a:p>
        </p:txBody>
      </p:sp>
      <p:sp>
        <p:nvSpPr>
          <p:cNvPr id="27" name="Textplatzhalter 59">
            <a:extLst>
              <a:ext uri="{FF2B5EF4-FFF2-40B4-BE49-F238E27FC236}">
                <a16:creationId xmlns="" xmlns:a16="http://schemas.microsoft.com/office/drawing/2014/main" id="{0770E745-96C5-4BB5-9F5A-D8A7F85E2834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064575" y="6057900"/>
            <a:ext cx="648000" cy="64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16722533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and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="" xmlns:a16="http://schemas.microsoft.com/office/drawing/2014/main" id="{6476E317-5A12-469D-9719-4E9681E531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21265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8132" name="think-cell Folie" r:id="rId4" imgW="360" imgH="360" progId="">
              <p:embed/>
            </p:oleObj>
          </a:graphicData>
        </a:graphic>
      </p:graphicFrame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6800"/>
            <a:ext cx="5508000" cy="1440394"/>
          </a:xfrm>
        </p:spPr>
        <p:txBody>
          <a:bodyPr t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VW Head Office Bold 52 pt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0" y="1"/>
            <a:ext cx="5988051" cy="6858000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vert="horz" wrap="square" lIns="0" tIns="2880000" rIns="0" bIns="0" rtlCol="0">
            <a:noAutofit/>
          </a:bodyPr>
          <a:lstStyle>
            <a:lvl1pPr algn="ctr">
              <a:spcBef>
                <a:spcPts val="0"/>
              </a:spcBef>
              <a:defRPr lang="en-US" sz="1800" b="0" kern="1200" noProof="0" dirty="0">
                <a:solidFill>
                  <a:schemeClr val="tx1"/>
                </a:solidFill>
                <a:latin typeface="VW Head Office Bold" panose="020B0803040200000003" pitchFamily="34" charset="0"/>
                <a:ea typeface="+mn-ea"/>
                <a:cs typeface="+mn-cs"/>
              </a:defRPr>
            </a:lvl1pPr>
          </a:lstStyle>
          <a:p>
            <a:pPr lvl="0" algn="ctr"/>
            <a:r>
              <a:rPr lang="en-US" noProof="0"/>
              <a:t>Insert a dark image by clicking on symbol below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C23660A8-9009-4329-B153-0A7341E0F4F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A6A35339-0541-440F-B8C0-BA66AF56154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1" name="Gerade Verbindung 6">
            <a:extLst>
              <a:ext uri="{FF2B5EF4-FFF2-40B4-BE49-F238E27FC236}">
                <a16:creationId xmlns="" xmlns:a16="http://schemas.microsoft.com/office/drawing/2014/main" id="{53BFA271-7750-44E0-ACDA-CD4FF4F1570D}"/>
              </a:ext>
            </a:extLst>
          </p:cNvPr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>
            <a:extLst>
              <a:ext uri="{FF2B5EF4-FFF2-40B4-BE49-F238E27FC236}">
                <a16:creationId xmlns="" xmlns:a16="http://schemas.microsoft.com/office/drawing/2014/main" id="{8EFEEDF7-1EB4-4FD6-8B3F-02DF9E80D6D3}"/>
              </a:ext>
            </a:extLst>
          </p:cNvPr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>
            <a:extLst>
              <a:ext uri="{FF2B5EF4-FFF2-40B4-BE49-F238E27FC236}">
                <a16:creationId xmlns="" xmlns:a16="http://schemas.microsoft.com/office/drawing/2014/main" id="{B20E414F-883F-4B7A-99F2-27FFA1A0679A}"/>
              </a:ext>
            </a:extLst>
          </p:cNvPr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>
            <a:extLst>
              <a:ext uri="{FF2B5EF4-FFF2-40B4-BE49-F238E27FC236}">
                <a16:creationId xmlns="" xmlns:a16="http://schemas.microsoft.com/office/drawing/2014/main" id="{169853A5-51B0-46C9-B58A-002DC6CBAB6A}"/>
              </a:ext>
            </a:extLst>
          </p:cNvPr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>
            <a:extLst>
              <a:ext uri="{FF2B5EF4-FFF2-40B4-BE49-F238E27FC236}">
                <a16:creationId xmlns="" xmlns:a16="http://schemas.microsoft.com/office/drawing/2014/main" id="{6FCF1F0C-5330-4C5C-A2BC-F79A014484D4}"/>
              </a:ext>
            </a:extLst>
          </p:cNvPr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>
            <a:extLst>
              <a:ext uri="{FF2B5EF4-FFF2-40B4-BE49-F238E27FC236}">
                <a16:creationId xmlns="" xmlns:a16="http://schemas.microsoft.com/office/drawing/2014/main" id="{6659A203-AD6D-479B-A517-44E570C9839E}"/>
              </a:ext>
            </a:extLst>
          </p:cNvPr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>
            <a:extLst>
              <a:ext uri="{FF2B5EF4-FFF2-40B4-BE49-F238E27FC236}">
                <a16:creationId xmlns="" xmlns:a16="http://schemas.microsoft.com/office/drawing/2014/main" id="{B9AE40AE-D636-4820-8498-BBAED0602E14}"/>
              </a:ext>
            </a:extLst>
          </p:cNvPr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>
            <a:extLst>
              <a:ext uri="{FF2B5EF4-FFF2-40B4-BE49-F238E27FC236}">
                <a16:creationId xmlns="" xmlns:a16="http://schemas.microsoft.com/office/drawing/2014/main" id="{D15D84F2-1385-4013-86DF-6215575DD39F}"/>
              </a:ext>
            </a:extLst>
          </p:cNvPr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>
            <a:extLst>
              <a:ext uri="{FF2B5EF4-FFF2-40B4-BE49-F238E27FC236}">
                <a16:creationId xmlns="" xmlns:a16="http://schemas.microsoft.com/office/drawing/2014/main" id="{8517E339-DD65-4390-ABBB-61B848055B3A}"/>
              </a:ext>
            </a:extLst>
          </p:cNvPr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>
            <a:extLst>
              <a:ext uri="{FF2B5EF4-FFF2-40B4-BE49-F238E27FC236}">
                <a16:creationId xmlns="" xmlns:a16="http://schemas.microsoft.com/office/drawing/2014/main" id="{DBB476FA-D40F-4BC4-B268-59EA7EF48185}"/>
              </a:ext>
            </a:extLst>
          </p:cNvPr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>
            <a:extLst>
              <a:ext uri="{FF2B5EF4-FFF2-40B4-BE49-F238E27FC236}">
                <a16:creationId xmlns="" xmlns:a16="http://schemas.microsoft.com/office/drawing/2014/main" id="{23BAA1BC-4B6A-4BED-A369-BE47D4F802FE}"/>
              </a:ext>
            </a:extLst>
          </p:cNvPr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>
            <a:extLst>
              <a:ext uri="{FF2B5EF4-FFF2-40B4-BE49-F238E27FC236}">
                <a16:creationId xmlns="" xmlns:a16="http://schemas.microsoft.com/office/drawing/2014/main" id="{702D7F65-2032-4EA1-AF74-1F4692976A3B}"/>
              </a:ext>
            </a:extLst>
          </p:cNvPr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>
            <a:extLst>
              <a:ext uri="{FF2B5EF4-FFF2-40B4-BE49-F238E27FC236}">
                <a16:creationId xmlns="" xmlns:a16="http://schemas.microsoft.com/office/drawing/2014/main" id="{6E0D5AE7-4B0F-423D-B2E7-BC44A9A67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908833"/>
            <a:ext cx="5508000" cy="2160591"/>
          </a:xfr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scribing Copy</a:t>
            </a:r>
            <a:br>
              <a:rPr lang="en-US" noProof="0"/>
            </a:br>
            <a:r>
              <a:rPr lang="en-US" noProof="0"/>
              <a:t>in VW Text Office 52 pt</a:t>
            </a:r>
          </a:p>
        </p:txBody>
      </p:sp>
      <p:sp>
        <p:nvSpPr>
          <p:cNvPr id="27" name="Textplatzhalter 59">
            <a:extLst>
              <a:ext uri="{FF2B5EF4-FFF2-40B4-BE49-F238E27FC236}">
                <a16:creationId xmlns="" xmlns:a16="http://schemas.microsoft.com/office/drawing/2014/main" id="{BF0E6081-CB81-447F-BA18-7A1A34D67877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064575" y="6057900"/>
            <a:ext cx="648000" cy="64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31632302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="" xmlns:a16="http://schemas.microsoft.com/office/drawing/2014/main" id="{79598C81-C499-4E66-9C1F-31A1B8E0C0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72038" name="think-cell Folie" r:id="rId5" imgW="360" imgH="360" progId="">
              <p:embed/>
            </p:oleObj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="" xmlns:a16="http://schemas.microsoft.com/office/drawing/2014/main" id="{9F4F20C6-B8F2-460A-B37B-DC84918010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1" name="Textplatzhalter 7">
            <a:extLst>
              <a:ext uri="{FF2B5EF4-FFF2-40B4-BE49-F238E27FC236}">
                <a16:creationId xmlns="" xmlns:a16="http://schemas.microsoft.com/office/drawing/2014/main" id="{C87FD146-0C97-47F2-8F72-DB128B20BF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 dirty="0" smtClean="0"/>
              <a:t>Price positioning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1233150" cy="360099"/>
          </a:xfrm>
        </p:spPr>
        <p:txBody>
          <a:bodyPr>
            <a:spAutoFit/>
          </a:bodyPr>
          <a:lstStyle>
            <a:lvl1pPr>
              <a:defRPr b="0"/>
            </a:lvl1pPr>
          </a:lstStyle>
          <a:p>
            <a:r>
              <a:rPr lang="en-US" noProof="0" dirty="0" smtClean="0"/>
              <a:t>&lt;Model&gt;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BA6BB72-9F96-4521-83C5-C8202BDECDA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noProof="0" dirty="0"/>
              <a:t>Creation date: </a:t>
            </a:r>
            <a:r>
              <a:rPr lang="en-US" noProof="0" dirty="0" err="1"/>
              <a:t>mm.dd.yy</a:t>
            </a:r>
            <a:r>
              <a:rPr lang="en-US" noProof="0" dirty="0"/>
              <a:t> | Responsible department for filing: </a:t>
            </a:r>
            <a:r>
              <a:rPr lang="en-US" noProof="0" dirty="0" err="1"/>
              <a:t>xxxx</a:t>
            </a:r>
            <a:r>
              <a:rPr lang="en-US" noProof="0" dirty="0"/>
              <a:t>-xx | CSD-Class: </a:t>
            </a:r>
            <a:r>
              <a:rPr lang="en-US" noProof="0" dirty="0" err="1"/>
              <a:t>xx.x</a:t>
            </a:r>
            <a:r>
              <a:rPr lang="en-US" noProof="0" dirty="0"/>
              <a:t> – xx years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7A5384AF-BAE1-4968-8830-F9A817BA96A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12" name="Group 28"/>
          <p:cNvGrpSpPr>
            <a:grpSpLocks/>
          </p:cNvGrpSpPr>
          <p:nvPr userDrawn="1"/>
        </p:nvGrpSpPr>
        <p:grpSpPr bwMode="auto">
          <a:xfrm>
            <a:off x="487931" y="5854930"/>
            <a:ext cx="1571624" cy="284163"/>
            <a:chOff x="5484" y="3492"/>
            <a:chExt cx="990" cy="179"/>
          </a:xfrm>
        </p:grpSpPr>
        <p:sp>
          <p:nvSpPr>
            <p:cNvPr id="13" name="Text Box 29"/>
            <p:cNvSpPr txBox="1">
              <a:spLocks noChangeArrowheads="1"/>
            </p:cNvSpPr>
            <p:nvPr/>
          </p:nvSpPr>
          <p:spPr bwMode="auto">
            <a:xfrm>
              <a:off x="5484" y="3543"/>
              <a:ext cx="102" cy="98"/>
            </a:xfrm>
            <a:prstGeom prst="rect">
              <a:avLst/>
            </a:prstGeom>
            <a:solidFill>
              <a:srgbClr val="00B0F0"/>
            </a:solidFill>
            <a:ln w="3175" algn="ctr">
              <a:solidFill>
                <a:schemeClr val="tx1"/>
              </a:solidFill>
              <a:miter lim="800000"/>
              <a:headEnd type="none" w="sm" len="sm"/>
              <a:tailEnd type="none" w="sm" len="sm"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/>
              <a:endParaRPr lang="ru-RU" sz="1000" b="1">
                <a:latin typeface="VW Head Office" panose="020B0504040200000003" pitchFamily="34" charset="0"/>
              </a:endParaRPr>
            </a:p>
          </p:txBody>
        </p:sp>
        <p:sp>
          <p:nvSpPr>
            <p:cNvPr id="14" name="Text Box 30"/>
            <p:cNvSpPr txBox="1">
              <a:spLocks noChangeArrowheads="1"/>
            </p:cNvSpPr>
            <p:nvPr/>
          </p:nvSpPr>
          <p:spPr bwMode="auto">
            <a:xfrm>
              <a:off x="5584" y="3492"/>
              <a:ext cx="890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72000" tIns="72000" rIns="72000" bIns="72000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en-US" sz="900" dirty="0">
                  <a:latin typeface="VW Head Office" panose="020B0504040200000003" pitchFamily="34" charset="0"/>
                </a:rPr>
                <a:t>Key </a:t>
              </a:r>
              <a:r>
                <a:rPr lang="en-US" sz="900" dirty="0" smtClean="0">
                  <a:latin typeface="VW Head Office" panose="020B0504040200000003" pitchFamily="34" charset="0"/>
                </a:rPr>
                <a:t>Basket</a:t>
              </a:r>
            </a:p>
          </p:txBody>
        </p:sp>
      </p:grpSp>
      <p:sp>
        <p:nvSpPr>
          <p:cNvPr id="27" name="Text Box 16"/>
          <p:cNvSpPr txBox="1">
            <a:spLocks noChangeArrowheads="1"/>
          </p:cNvSpPr>
          <p:nvPr userDrawn="1"/>
        </p:nvSpPr>
        <p:spPr bwMode="auto">
          <a:xfrm>
            <a:off x="2302204" y="2550523"/>
            <a:ext cx="5976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1800">
                <a:latin typeface="+mj-lt"/>
              </a:rPr>
              <a:t>0</a:t>
            </a:r>
            <a:endParaRPr lang="ru-RU" sz="1800">
              <a:latin typeface="+mj-lt"/>
            </a:endParaRPr>
          </a:p>
        </p:txBody>
      </p:sp>
      <p:sp>
        <p:nvSpPr>
          <p:cNvPr id="28" name="Text Box 17"/>
          <p:cNvSpPr txBox="1">
            <a:spLocks noChangeArrowheads="1"/>
          </p:cNvSpPr>
          <p:nvPr userDrawn="1"/>
        </p:nvSpPr>
        <p:spPr bwMode="auto">
          <a:xfrm>
            <a:off x="2302204" y="2121369"/>
            <a:ext cx="5976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ru-RU" sz="1800">
                <a:latin typeface="+mj-lt"/>
              </a:rPr>
              <a:t>1</a:t>
            </a:r>
            <a:r>
              <a:rPr lang="en-US" sz="1800">
                <a:latin typeface="+mj-lt"/>
              </a:rPr>
              <a:t>0</a:t>
            </a:r>
            <a:endParaRPr lang="ru-RU" sz="1800">
              <a:latin typeface="+mj-lt"/>
            </a:endParaRPr>
          </a:p>
        </p:txBody>
      </p:sp>
      <p:sp>
        <p:nvSpPr>
          <p:cNvPr id="29" name="Text Box 18"/>
          <p:cNvSpPr txBox="1">
            <a:spLocks noChangeArrowheads="1"/>
          </p:cNvSpPr>
          <p:nvPr userDrawn="1"/>
        </p:nvSpPr>
        <p:spPr bwMode="auto">
          <a:xfrm>
            <a:off x="2302204" y="1623940"/>
            <a:ext cx="5976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ru-RU" sz="1800" dirty="0">
                <a:latin typeface="+mj-lt"/>
              </a:rPr>
              <a:t>2</a:t>
            </a:r>
            <a:r>
              <a:rPr lang="en-US" sz="1800" dirty="0">
                <a:latin typeface="+mj-lt"/>
              </a:rPr>
              <a:t>0</a:t>
            </a:r>
            <a:endParaRPr lang="ru-RU" sz="1800" dirty="0">
              <a:latin typeface="+mj-lt"/>
            </a:endParaRPr>
          </a:p>
        </p:txBody>
      </p:sp>
      <p:sp>
        <p:nvSpPr>
          <p:cNvPr id="30" name="Text Box 20"/>
          <p:cNvSpPr txBox="1">
            <a:spLocks noChangeArrowheads="1"/>
          </p:cNvSpPr>
          <p:nvPr userDrawn="1"/>
        </p:nvSpPr>
        <p:spPr bwMode="auto">
          <a:xfrm>
            <a:off x="2282822" y="4602012"/>
            <a:ext cx="5976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1800">
                <a:latin typeface="+mj-lt"/>
              </a:rPr>
              <a:t>-40</a:t>
            </a:r>
            <a:endParaRPr lang="ru-RU" sz="1800">
              <a:latin typeface="+mj-lt"/>
            </a:endParaRPr>
          </a:p>
        </p:txBody>
      </p:sp>
      <p:sp>
        <p:nvSpPr>
          <p:cNvPr id="31" name="Text Box 21"/>
          <p:cNvSpPr txBox="1">
            <a:spLocks noChangeArrowheads="1"/>
          </p:cNvSpPr>
          <p:nvPr userDrawn="1"/>
        </p:nvSpPr>
        <p:spPr bwMode="auto">
          <a:xfrm>
            <a:off x="2282822" y="4114336"/>
            <a:ext cx="5976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1800">
                <a:latin typeface="+mj-lt"/>
              </a:rPr>
              <a:t>-30</a:t>
            </a:r>
            <a:endParaRPr lang="ru-RU" sz="1800">
              <a:latin typeface="+mj-lt"/>
            </a:endParaRPr>
          </a:p>
        </p:txBody>
      </p:sp>
      <p:sp>
        <p:nvSpPr>
          <p:cNvPr id="32" name="Text Box 22"/>
          <p:cNvSpPr txBox="1">
            <a:spLocks noChangeArrowheads="1"/>
          </p:cNvSpPr>
          <p:nvPr userDrawn="1"/>
        </p:nvSpPr>
        <p:spPr bwMode="auto">
          <a:xfrm>
            <a:off x="2282822" y="3616907"/>
            <a:ext cx="5976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1800">
                <a:latin typeface="+mj-lt"/>
              </a:rPr>
              <a:t>-20</a:t>
            </a:r>
            <a:endParaRPr lang="ru-RU" sz="1800">
              <a:latin typeface="+mj-lt"/>
            </a:endParaRPr>
          </a:p>
        </p:txBody>
      </p:sp>
      <p:sp>
        <p:nvSpPr>
          <p:cNvPr id="33" name="Text Box 23"/>
          <p:cNvSpPr txBox="1">
            <a:spLocks noChangeArrowheads="1"/>
          </p:cNvSpPr>
          <p:nvPr userDrawn="1"/>
        </p:nvSpPr>
        <p:spPr bwMode="auto">
          <a:xfrm>
            <a:off x="2282822" y="3086967"/>
            <a:ext cx="5976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1800">
                <a:latin typeface="+mj-lt"/>
              </a:rPr>
              <a:t>-10</a:t>
            </a:r>
            <a:endParaRPr lang="ru-RU" sz="1800">
              <a:latin typeface="+mj-lt"/>
            </a:endParaRPr>
          </a:p>
        </p:txBody>
      </p:sp>
      <p:sp>
        <p:nvSpPr>
          <p:cNvPr id="38" name="Text Box 20"/>
          <p:cNvSpPr txBox="1">
            <a:spLocks noChangeArrowheads="1"/>
          </p:cNvSpPr>
          <p:nvPr userDrawn="1"/>
        </p:nvSpPr>
        <p:spPr bwMode="auto">
          <a:xfrm>
            <a:off x="2282822" y="5071796"/>
            <a:ext cx="5976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1800" dirty="0" smtClean="0">
                <a:latin typeface="+mj-lt"/>
              </a:rPr>
              <a:t>-</a:t>
            </a:r>
            <a:r>
              <a:rPr lang="ru-RU" sz="1800" dirty="0" smtClean="0">
                <a:latin typeface="+mj-lt"/>
              </a:rPr>
              <a:t>5</a:t>
            </a:r>
            <a:r>
              <a:rPr lang="en-US" sz="1800" dirty="0" smtClean="0">
                <a:latin typeface="+mj-lt"/>
              </a:rPr>
              <a:t>0</a:t>
            </a:r>
            <a:endParaRPr lang="ru-RU" sz="1800" dirty="0">
              <a:latin typeface="+mj-lt"/>
            </a:endParaRPr>
          </a:p>
        </p:txBody>
      </p:sp>
      <p:grpSp>
        <p:nvGrpSpPr>
          <p:cNvPr id="42" name="Группа 41"/>
          <p:cNvGrpSpPr/>
          <p:nvPr userDrawn="1"/>
        </p:nvGrpSpPr>
        <p:grpSpPr>
          <a:xfrm>
            <a:off x="2932125" y="1773494"/>
            <a:ext cx="9068602" cy="3431600"/>
            <a:chOff x="4370400" y="1773494"/>
            <a:chExt cx="7264487" cy="3431600"/>
          </a:xfrm>
        </p:grpSpPr>
        <p:grpSp>
          <p:nvGrpSpPr>
            <p:cNvPr id="15" name="Group 2"/>
            <p:cNvGrpSpPr>
              <a:grpSpLocks/>
            </p:cNvGrpSpPr>
            <p:nvPr userDrawn="1"/>
          </p:nvGrpSpPr>
          <p:grpSpPr bwMode="auto">
            <a:xfrm>
              <a:off x="4370487" y="2941015"/>
              <a:ext cx="7264400" cy="471487"/>
              <a:chOff x="745" y="1847"/>
              <a:chExt cx="4576" cy="297"/>
            </a:xfrm>
          </p:grpSpPr>
          <p:sp>
            <p:nvSpPr>
              <p:cNvPr id="16" name="Rectangle 3"/>
              <p:cNvSpPr>
                <a:spLocks noChangeArrowheads="1"/>
              </p:cNvSpPr>
              <p:nvPr/>
            </p:nvSpPr>
            <p:spPr bwMode="auto">
              <a:xfrm>
                <a:off x="749" y="1847"/>
                <a:ext cx="3904" cy="297"/>
              </a:xfrm>
              <a:prstGeom prst="rect">
                <a:avLst/>
              </a:prstGeom>
              <a:solidFill>
                <a:srgbClr val="A9E3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540000" tIns="270000" bIns="90000" anchor="ctr"/>
              <a:lstStyle/>
              <a:p>
                <a:pPr algn="ctr" eaLnBrk="0" hangingPunct="0"/>
                <a:endParaRPr lang="ru-RU" u="sng">
                  <a:latin typeface="VW Head Office" panose="020B0504040200000003" pitchFamily="34" charset="0"/>
                </a:endParaRPr>
              </a:p>
            </p:txBody>
          </p:sp>
          <p:sp>
            <p:nvSpPr>
              <p:cNvPr id="17" name="Line 4"/>
              <p:cNvSpPr>
                <a:spLocks noChangeShapeType="1"/>
              </p:cNvSpPr>
              <p:nvPr/>
            </p:nvSpPr>
            <p:spPr bwMode="auto">
              <a:xfrm>
                <a:off x="749" y="1852"/>
                <a:ext cx="4170" cy="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lIns="540000" tIns="270000" bIns="90000" anchor="ctr"/>
              <a:lstStyle/>
              <a:p>
                <a:endParaRPr lang="ru-RU" u="sng">
                  <a:latin typeface="VW Head Office" panose="020B0504040200000003" pitchFamily="34" charset="0"/>
                </a:endParaRPr>
              </a:p>
            </p:txBody>
          </p:sp>
          <p:sp>
            <p:nvSpPr>
              <p:cNvPr id="18" name="Line 5"/>
              <p:cNvSpPr>
                <a:spLocks noChangeShapeType="1"/>
              </p:cNvSpPr>
              <p:nvPr/>
            </p:nvSpPr>
            <p:spPr bwMode="auto">
              <a:xfrm>
                <a:off x="745" y="2138"/>
                <a:ext cx="4152" cy="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lIns="540000" tIns="270000" bIns="90000" anchor="ctr"/>
              <a:lstStyle/>
              <a:p>
                <a:endParaRPr lang="ru-RU" u="sng">
                  <a:latin typeface="VW Head Office" panose="020B0504040200000003" pitchFamily="34" charset="0"/>
                </a:endParaRPr>
              </a:p>
            </p:txBody>
          </p:sp>
          <p:sp>
            <p:nvSpPr>
              <p:cNvPr id="19" name="Line 6"/>
              <p:cNvSpPr>
                <a:spLocks noChangeShapeType="1"/>
              </p:cNvSpPr>
              <p:nvPr/>
            </p:nvSpPr>
            <p:spPr bwMode="auto">
              <a:xfrm>
                <a:off x="4830" y="1858"/>
                <a:ext cx="0" cy="278"/>
              </a:xfrm>
              <a:prstGeom prst="line">
                <a:avLst/>
              </a:prstGeom>
              <a:noFill/>
              <a:ln w="38100">
                <a:solidFill>
                  <a:srgbClr val="A9E3FF"/>
                </a:solidFill>
                <a:round/>
                <a:headEnd type="triangle" w="sm" len="sm"/>
                <a:tailEnd type="triangle" w="sm" len="sm"/>
              </a:ln>
            </p:spPr>
            <p:txBody>
              <a:bodyPr wrap="none" lIns="540000" tIns="270000" bIns="90000" anchor="ctr"/>
              <a:lstStyle/>
              <a:p>
                <a:endParaRPr lang="ru-RU" u="sng">
                  <a:latin typeface="VW Head Office" panose="020B0504040200000003" pitchFamily="34" charset="0"/>
                </a:endParaRPr>
              </a:p>
            </p:txBody>
          </p:sp>
          <p:sp>
            <p:nvSpPr>
              <p:cNvPr id="20" name="Text Box 7"/>
              <p:cNvSpPr txBox="1">
                <a:spLocks noChangeArrowheads="1"/>
              </p:cNvSpPr>
              <p:nvPr/>
            </p:nvSpPr>
            <p:spPr bwMode="auto">
              <a:xfrm>
                <a:off x="4926" y="1879"/>
                <a:ext cx="395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>
                <a:spAutoFit/>
              </a:bodyPr>
              <a:lstStyle/>
              <a:p>
                <a:pPr algn="l" eaLnBrk="0" hangingPunct="0"/>
                <a:r>
                  <a:rPr lang="en-US" sz="1200" b="1" u="none" dirty="0">
                    <a:solidFill>
                      <a:srgbClr val="A9E3FF"/>
                    </a:solidFill>
                    <a:latin typeface="VW Head Light" panose="020B0304040200000003" pitchFamily="34" charset="0"/>
                  </a:rPr>
                  <a:t>Target</a:t>
                </a:r>
                <a:r>
                  <a:rPr lang="en-US" sz="1200" b="1" u="none" dirty="0">
                    <a:solidFill>
                      <a:srgbClr val="00B0F0"/>
                    </a:solidFill>
                    <a:latin typeface="VW Head Light" panose="020B0304040200000003" pitchFamily="34" charset="0"/>
                  </a:rPr>
                  <a:t> </a:t>
                </a:r>
              </a:p>
              <a:p>
                <a:pPr algn="l" eaLnBrk="0" hangingPunct="0"/>
                <a:r>
                  <a:rPr lang="en-US" sz="1200" b="1" u="none" dirty="0">
                    <a:solidFill>
                      <a:srgbClr val="A9E3FF"/>
                    </a:solidFill>
                    <a:latin typeface="VW Head Light" panose="020B0304040200000003" pitchFamily="34" charset="0"/>
                  </a:rPr>
                  <a:t>Corridor</a:t>
                </a:r>
                <a:endParaRPr lang="ru-RU" sz="1200" b="1" u="none" dirty="0">
                  <a:solidFill>
                    <a:srgbClr val="A9E3FF"/>
                  </a:solidFill>
                  <a:latin typeface="VW Head Light" panose="020B0304040200000003" pitchFamily="34" charset="0"/>
                </a:endParaRPr>
              </a:p>
            </p:txBody>
          </p:sp>
        </p:grpSp>
        <p:sp>
          <p:nvSpPr>
            <p:cNvPr id="21" name="Line 9"/>
            <p:cNvSpPr>
              <a:spLocks noChangeShapeType="1"/>
            </p:cNvSpPr>
            <p:nvPr userDrawn="1"/>
          </p:nvSpPr>
          <p:spPr bwMode="auto">
            <a:xfrm>
              <a:off x="4370400" y="2695201"/>
              <a:ext cx="6205525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lIns="540000" tIns="270000" bIns="90000" anchor="ctr"/>
            <a:lstStyle/>
            <a:p>
              <a:endParaRPr lang="ru-RU" u="sng">
                <a:latin typeface="VW Head Office" panose="020B0504040200000003" pitchFamily="34" charset="0"/>
              </a:endParaRPr>
            </a:p>
          </p:txBody>
        </p:sp>
        <p:sp>
          <p:nvSpPr>
            <p:cNvPr id="22" name="Line 10"/>
            <p:cNvSpPr>
              <a:spLocks noChangeShapeType="1"/>
            </p:cNvSpPr>
            <p:nvPr userDrawn="1"/>
          </p:nvSpPr>
          <p:spPr bwMode="auto">
            <a:xfrm>
              <a:off x="4370400" y="2280676"/>
              <a:ext cx="620391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lIns="540000" tIns="270000" bIns="90000" anchor="ctr"/>
            <a:lstStyle/>
            <a:p>
              <a:endParaRPr lang="ru-RU" u="sng">
                <a:latin typeface="VW Head Office" panose="020B0504040200000003" pitchFamily="34" charset="0"/>
              </a:endParaRPr>
            </a:p>
          </p:txBody>
        </p:sp>
        <p:sp>
          <p:nvSpPr>
            <p:cNvPr id="23" name="Line 11"/>
            <p:cNvSpPr>
              <a:spLocks noChangeShapeType="1"/>
            </p:cNvSpPr>
            <p:nvPr userDrawn="1"/>
          </p:nvSpPr>
          <p:spPr bwMode="auto">
            <a:xfrm>
              <a:off x="4370400" y="1773494"/>
              <a:ext cx="620391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lIns="540000" tIns="270000" bIns="90000" anchor="ctr"/>
            <a:lstStyle/>
            <a:p>
              <a:endParaRPr lang="ru-RU" u="sng">
                <a:latin typeface="VW Head Office" panose="020B0504040200000003" pitchFamily="34" charset="0"/>
              </a:endParaRPr>
            </a:p>
          </p:txBody>
        </p:sp>
        <p:sp>
          <p:nvSpPr>
            <p:cNvPr id="24" name="Line 13"/>
            <p:cNvSpPr>
              <a:spLocks noChangeShapeType="1"/>
            </p:cNvSpPr>
            <p:nvPr userDrawn="1"/>
          </p:nvSpPr>
          <p:spPr bwMode="auto">
            <a:xfrm>
              <a:off x="4370400" y="4234630"/>
              <a:ext cx="620391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lIns="540000" tIns="270000" bIns="90000" anchor="ctr"/>
            <a:lstStyle/>
            <a:p>
              <a:endParaRPr lang="ru-RU" u="sng">
                <a:latin typeface="VW Head Office" panose="020B0504040200000003" pitchFamily="34" charset="0"/>
              </a:endParaRPr>
            </a:p>
          </p:txBody>
        </p:sp>
        <p:sp>
          <p:nvSpPr>
            <p:cNvPr id="25" name="Line 14"/>
            <p:cNvSpPr>
              <a:spLocks noChangeShapeType="1"/>
            </p:cNvSpPr>
            <p:nvPr userDrawn="1"/>
          </p:nvSpPr>
          <p:spPr bwMode="auto">
            <a:xfrm>
              <a:off x="4370400" y="3727447"/>
              <a:ext cx="620391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lIns="540000" tIns="270000" bIns="90000" anchor="ctr"/>
            <a:lstStyle/>
            <a:p>
              <a:endParaRPr lang="ru-RU" u="sng">
                <a:latin typeface="VW Head Office" panose="020B0504040200000003" pitchFamily="34" charset="0"/>
              </a:endParaRPr>
            </a:p>
          </p:txBody>
        </p:sp>
        <p:sp>
          <p:nvSpPr>
            <p:cNvPr id="26" name="Line 15"/>
            <p:cNvSpPr>
              <a:spLocks noChangeShapeType="1"/>
            </p:cNvSpPr>
            <p:nvPr userDrawn="1"/>
          </p:nvSpPr>
          <p:spPr bwMode="auto">
            <a:xfrm>
              <a:off x="4370400" y="3189378"/>
              <a:ext cx="620391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lIns="540000" tIns="270000" bIns="90000" anchor="ctr"/>
            <a:lstStyle/>
            <a:p>
              <a:endParaRPr lang="ru-RU" u="sng">
                <a:latin typeface="VW Head Office" panose="020B0504040200000003" pitchFamily="34" charset="0"/>
              </a:endParaRPr>
            </a:p>
          </p:txBody>
        </p:sp>
        <p:sp>
          <p:nvSpPr>
            <p:cNvPr id="34" name="Line 24"/>
            <p:cNvSpPr>
              <a:spLocks noChangeShapeType="1"/>
            </p:cNvSpPr>
            <p:nvPr userDrawn="1"/>
          </p:nvSpPr>
          <p:spPr bwMode="auto">
            <a:xfrm>
              <a:off x="4370400" y="4735310"/>
              <a:ext cx="620391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lIns="540000" tIns="270000" bIns="90000" anchor="ctr"/>
            <a:lstStyle/>
            <a:p>
              <a:endParaRPr lang="ru-RU" u="sng">
                <a:latin typeface="VW Head Office" panose="020B0504040200000003" pitchFamily="34" charset="0"/>
              </a:endParaRPr>
            </a:p>
          </p:txBody>
        </p:sp>
        <p:sp>
          <p:nvSpPr>
            <p:cNvPr id="39" name="Line 24"/>
            <p:cNvSpPr>
              <a:spLocks noChangeShapeType="1"/>
            </p:cNvSpPr>
            <p:nvPr userDrawn="1"/>
          </p:nvSpPr>
          <p:spPr bwMode="auto">
            <a:xfrm>
              <a:off x="4370400" y="5205094"/>
              <a:ext cx="620391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lIns="540000" tIns="270000" bIns="90000" anchor="ctr"/>
            <a:lstStyle/>
            <a:p>
              <a:endParaRPr lang="ru-RU" u="sng">
                <a:latin typeface="VW Head Office" panose="020B0504040200000003" pitchFamily="34" charset="0"/>
              </a:endParaRPr>
            </a:p>
          </p:txBody>
        </p:sp>
      </p:grpSp>
      <p:sp>
        <p:nvSpPr>
          <p:cNvPr id="41" name="Text Box 30"/>
          <p:cNvSpPr txBox="1">
            <a:spLocks noChangeArrowheads="1"/>
          </p:cNvSpPr>
          <p:nvPr userDrawn="1"/>
        </p:nvSpPr>
        <p:spPr bwMode="auto">
          <a:xfrm>
            <a:off x="1765868" y="5854930"/>
            <a:ext cx="1412874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dirty="0" smtClean="0">
                <a:latin typeface="VW Head Office" panose="020B0504040200000003" pitchFamily="34" charset="0"/>
              </a:rPr>
              <a:t>List</a:t>
            </a:r>
            <a:r>
              <a:rPr lang="en-US" sz="900" baseline="0" dirty="0" smtClean="0">
                <a:latin typeface="VW Head Office" panose="020B0504040200000003" pitchFamily="34" charset="0"/>
              </a:rPr>
              <a:t> Prices are analyzed.</a:t>
            </a:r>
            <a:endParaRPr lang="en-US" sz="900" dirty="0" smtClean="0">
              <a:latin typeface="VW Head Office" panose="020B0504040200000003" pitchFamily="34" charset="0"/>
            </a:endParaRPr>
          </a:p>
        </p:txBody>
      </p:sp>
      <p:grpSp>
        <p:nvGrpSpPr>
          <p:cNvPr id="45" name="Группа 44"/>
          <p:cNvGrpSpPr/>
          <p:nvPr userDrawn="1"/>
        </p:nvGrpSpPr>
        <p:grpSpPr>
          <a:xfrm>
            <a:off x="2479827" y="2890832"/>
            <a:ext cx="571809" cy="571809"/>
            <a:chOff x="1230994" y="2948952"/>
            <a:chExt cx="571809" cy="571809"/>
          </a:xfrm>
        </p:grpSpPr>
        <p:sp>
          <p:nvSpPr>
            <p:cNvPr id="36" name="Oval 62"/>
            <p:cNvSpPr>
              <a:spLocks noChangeAspect="1" noChangeArrowheads="1"/>
            </p:cNvSpPr>
            <p:nvPr/>
          </p:nvSpPr>
          <p:spPr bwMode="auto">
            <a:xfrm>
              <a:off x="1230994" y="2948952"/>
              <a:ext cx="571809" cy="571809"/>
            </a:xfrm>
            <a:prstGeom prst="ellipse">
              <a:avLst/>
            </a:prstGeom>
            <a:gradFill flip="none" rotWithShape="1">
              <a:gsLst>
                <a:gs pos="0">
                  <a:srgbClr val="00B0F0"/>
                </a:gs>
                <a:gs pos="54000">
                  <a:srgbClr val="00B0F0"/>
                </a:gs>
                <a:gs pos="100000">
                  <a:schemeClr val="bg1">
                    <a:lumMod val="0"/>
                    <a:lumOff val="100000"/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3175" algn="ctr">
              <a:noFill/>
              <a:round/>
              <a:headEnd type="none" w="sm" len="sm"/>
              <a:tailEnd type="none" w="sm" len="sm"/>
            </a:ln>
          </p:spPr>
          <p:txBody>
            <a:bodyPr wrap="square" lIns="0" tIns="0" rIns="0" bIns="0">
              <a:spAutoFit/>
            </a:bodyPr>
            <a:lstStyle/>
            <a:p>
              <a:pPr algn="ctr" eaLnBrk="0" hangingPunct="0"/>
              <a:endParaRPr lang="ru-RU" sz="1800">
                <a:latin typeface="+mj-lt"/>
              </a:endParaRPr>
            </a:p>
          </p:txBody>
        </p:sp>
        <p:pic>
          <p:nvPicPr>
            <p:cNvPr id="44" name="Рисунок 43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2465" y="3044568"/>
              <a:ext cx="380576" cy="3805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="" xmlns:p14="http://schemas.microsoft.com/office/powerpoint/2010/main" val="17394876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and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5" y="1486800"/>
            <a:ext cx="5508000" cy="1440394"/>
          </a:xfrm>
        </p:spPr>
        <p:txBody>
          <a:bodyPr t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VW Head Office Bold 52 pt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5" y="1"/>
            <a:ext cx="5988046" cy="6858000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vert="horz" wrap="square" lIns="0" tIns="2880000" rIns="0" bIns="0" rtlCol="0">
            <a:noAutofit/>
          </a:bodyPr>
          <a:lstStyle>
            <a:lvl1pPr algn="ctr">
              <a:spcBef>
                <a:spcPts val="0"/>
              </a:spcBef>
              <a:defRPr lang="en-US" noProof="0">
                <a:latin typeface="+mj-lt"/>
              </a:defRPr>
            </a:lvl1pPr>
          </a:lstStyle>
          <a:p>
            <a:pPr lvl="0" algn="ctr"/>
            <a:r>
              <a:rPr lang="en-US" noProof="0"/>
              <a:t>Insert a light image by clicking on symbol below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C23660A8-9009-4329-B153-0A7341E0F4F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A6A35339-0541-440F-B8C0-BA66AF56154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1" name="Gerade Verbindung 6">
            <a:extLst>
              <a:ext uri="{FF2B5EF4-FFF2-40B4-BE49-F238E27FC236}">
                <a16:creationId xmlns="" xmlns:a16="http://schemas.microsoft.com/office/drawing/2014/main" id="{8E1F3405-6DCA-41A1-8149-DAD38D0565F5}"/>
              </a:ext>
            </a:extLst>
          </p:cNvPr>
          <p:cNvCxnSpPr/>
          <p:nvPr userDrawn="1"/>
        </p:nvCxnSpPr>
        <p:spPr bwMode="gray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">
            <a:extLst>
              <a:ext uri="{FF2B5EF4-FFF2-40B4-BE49-F238E27FC236}">
                <a16:creationId xmlns="" xmlns:a16="http://schemas.microsoft.com/office/drawing/2014/main" id="{EF6D904A-4396-4BF8-A706-C52AB291F60F}"/>
              </a:ext>
            </a:extLst>
          </p:cNvPr>
          <p:cNvCxnSpPr/>
          <p:nvPr userDrawn="1"/>
        </p:nvCxnSpPr>
        <p:spPr bwMode="gray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>
            <a:extLst>
              <a:ext uri="{FF2B5EF4-FFF2-40B4-BE49-F238E27FC236}">
                <a16:creationId xmlns="" xmlns:a16="http://schemas.microsoft.com/office/drawing/2014/main" id="{ADEB8BA7-983C-4D79-BB18-3787F3E95FDA}"/>
              </a:ext>
            </a:extLst>
          </p:cNvPr>
          <p:cNvCxnSpPr/>
          <p:nvPr userDrawn="1"/>
        </p:nvCxnSpPr>
        <p:spPr bwMode="gray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>
            <a:extLst>
              <a:ext uri="{FF2B5EF4-FFF2-40B4-BE49-F238E27FC236}">
                <a16:creationId xmlns="" xmlns:a16="http://schemas.microsoft.com/office/drawing/2014/main" id="{E6DF490B-22CE-4DA9-9C6C-BBDFA190AA71}"/>
              </a:ext>
            </a:extLst>
          </p:cNvPr>
          <p:cNvCxnSpPr/>
          <p:nvPr userDrawn="1"/>
        </p:nvCxnSpPr>
        <p:spPr bwMode="gray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>
            <a:extLst>
              <a:ext uri="{FF2B5EF4-FFF2-40B4-BE49-F238E27FC236}">
                <a16:creationId xmlns="" xmlns:a16="http://schemas.microsoft.com/office/drawing/2014/main" id="{E5311266-210D-48BB-AA39-B584B1C7AA61}"/>
              </a:ext>
            </a:extLst>
          </p:cNvPr>
          <p:cNvCxnSpPr/>
          <p:nvPr userDrawn="1"/>
        </p:nvCxnSpPr>
        <p:spPr bwMode="gray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>
            <a:extLst>
              <a:ext uri="{FF2B5EF4-FFF2-40B4-BE49-F238E27FC236}">
                <a16:creationId xmlns="" xmlns:a16="http://schemas.microsoft.com/office/drawing/2014/main" id="{7CB6A96E-0C3C-4EA4-8657-57CAAA6583B1}"/>
              </a:ext>
            </a:extLst>
          </p:cNvPr>
          <p:cNvCxnSpPr/>
          <p:nvPr userDrawn="1"/>
        </p:nvCxnSpPr>
        <p:spPr bwMode="gray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>
            <a:extLst>
              <a:ext uri="{FF2B5EF4-FFF2-40B4-BE49-F238E27FC236}">
                <a16:creationId xmlns="" xmlns:a16="http://schemas.microsoft.com/office/drawing/2014/main" id="{B92EA564-4D7D-4877-8E65-13CEBAE1A04B}"/>
              </a:ext>
            </a:extLst>
          </p:cNvPr>
          <p:cNvCxnSpPr/>
          <p:nvPr userDrawn="1"/>
        </p:nvCxnSpPr>
        <p:spPr bwMode="gray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>
            <a:extLst>
              <a:ext uri="{FF2B5EF4-FFF2-40B4-BE49-F238E27FC236}">
                <a16:creationId xmlns="" xmlns:a16="http://schemas.microsoft.com/office/drawing/2014/main" id="{84E930E6-0BD6-4607-9802-7FB85E8C47B6}"/>
              </a:ext>
            </a:extLst>
          </p:cNvPr>
          <p:cNvCxnSpPr/>
          <p:nvPr userDrawn="1"/>
        </p:nvCxnSpPr>
        <p:spPr bwMode="gray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>
            <a:extLst>
              <a:ext uri="{FF2B5EF4-FFF2-40B4-BE49-F238E27FC236}">
                <a16:creationId xmlns="" xmlns:a16="http://schemas.microsoft.com/office/drawing/2014/main" id="{86332F09-93F3-4511-9491-7E7D1453868E}"/>
              </a:ext>
            </a:extLst>
          </p:cNvPr>
          <p:cNvCxnSpPr/>
          <p:nvPr userDrawn="1"/>
        </p:nvCxnSpPr>
        <p:spPr bwMode="gray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>
            <a:extLst>
              <a:ext uri="{FF2B5EF4-FFF2-40B4-BE49-F238E27FC236}">
                <a16:creationId xmlns="" xmlns:a16="http://schemas.microsoft.com/office/drawing/2014/main" id="{51A3B875-D736-415F-AE5B-7DC357BB54F6}"/>
              </a:ext>
            </a:extLst>
          </p:cNvPr>
          <p:cNvCxnSpPr/>
          <p:nvPr userDrawn="1"/>
        </p:nvCxnSpPr>
        <p:spPr bwMode="gray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>
            <a:extLst>
              <a:ext uri="{FF2B5EF4-FFF2-40B4-BE49-F238E27FC236}">
                <a16:creationId xmlns="" xmlns:a16="http://schemas.microsoft.com/office/drawing/2014/main" id="{CD2742BE-22FB-46B1-9114-9B8BF5D64641}"/>
              </a:ext>
            </a:extLst>
          </p:cNvPr>
          <p:cNvCxnSpPr/>
          <p:nvPr userDrawn="1"/>
        </p:nvCxnSpPr>
        <p:spPr bwMode="gray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>
            <a:extLst>
              <a:ext uri="{FF2B5EF4-FFF2-40B4-BE49-F238E27FC236}">
                <a16:creationId xmlns="" xmlns:a16="http://schemas.microsoft.com/office/drawing/2014/main" id="{FDA2EA14-B09F-446C-BBA7-987252A447AE}"/>
              </a:ext>
            </a:extLst>
          </p:cNvPr>
          <p:cNvCxnSpPr/>
          <p:nvPr userDrawn="1"/>
        </p:nvCxnSpPr>
        <p:spPr bwMode="gray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6">
            <a:extLst>
              <a:ext uri="{FF2B5EF4-FFF2-40B4-BE49-F238E27FC236}">
                <a16:creationId xmlns="" xmlns:a16="http://schemas.microsoft.com/office/drawing/2014/main" id="{974AA5E0-8138-4EC5-B95F-146E720630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8801" y="2908833"/>
            <a:ext cx="5508000" cy="2160591"/>
          </a:xfrm>
        </p:spPr>
        <p:txBody>
          <a:bodyPr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scribing Copy </a:t>
            </a:r>
            <a:br>
              <a:rPr lang="en-US" noProof="0"/>
            </a:br>
            <a:r>
              <a:rPr lang="en-US" noProof="0"/>
              <a:t>in VW Text Office 52 pt</a:t>
            </a:r>
          </a:p>
        </p:txBody>
      </p:sp>
      <p:sp>
        <p:nvSpPr>
          <p:cNvPr id="22" name="Textplatzhalter 59">
            <a:extLst>
              <a:ext uri="{FF2B5EF4-FFF2-40B4-BE49-F238E27FC236}">
                <a16:creationId xmlns="" xmlns:a16="http://schemas.microsoft.com/office/drawing/2014/main" id="{735AA70F-A2CA-4B76-80D7-4ADE65C676AD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064575" y="6057900"/>
            <a:ext cx="648000" cy="64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40623374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="" xmlns:a16="http://schemas.microsoft.com/office/drawing/2014/main" id="{9CCF6193-AE18-4D60-89F0-0E153ABF37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070367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9156" name="think-cell Folie" r:id="rId4" imgW="360" imgH="360" progId="">
              <p:embed/>
            </p:oleObj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3"/>
            <a:ext cx="6203948" cy="6857997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vert="horz" wrap="square" lIns="0" tIns="2880000" rIns="0" bIns="0" rtlCol="0">
            <a:noAutofit/>
          </a:bodyPr>
          <a:lstStyle>
            <a:lvl1pPr algn="ctr">
              <a:spcBef>
                <a:spcPts val="0"/>
              </a:spcBef>
              <a:defRPr lang="en-US" noProof="0">
                <a:latin typeface="+mj-lt"/>
              </a:defRPr>
            </a:lvl1pPr>
          </a:lstStyle>
          <a:p>
            <a:pPr lvl="0" algn="ctr"/>
            <a:r>
              <a:rPr lang="en-US" noProof="0" dirty="0"/>
              <a:t>Insert an image by clicking on symbol below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A1EB315F-64EE-44F3-ADD3-8935DCEA7EE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E0F73E69-3FE3-484D-8C0D-82B2FADCE5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9" name="Gerade Verbindung 6">
            <a:extLst>
              <a:ext uri="{FF2B5EF4-FFF2-40B4-BE49-F238E27FC236}">
                <a16:creationId xmlns="" xmlns:a16="http://schemas.microsoft.com/office/drawing/2014/main" id="{BA627361-3118-4827-BCC9-EB693141A697}"/>
              </a:ext>
            </a:extLst>
          </p:cNvPr>
          <p:cNvCxnSpPr/>
          <p:nvPr userDrawn="1"/>
        </p:nvCxnSpPr>
        <p:spPr bwMode="black">
          <a:xfrm>
            <a:off x="480705" y="-187656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7">
            <a:extLst>
              <a:ext uri="{FF2B5EF4-FFF2-40B4-BE49-F238E27FC236}">
                <a16:creationId xmlns="" xmlns:a16="http://schemas.microsoft.com/office/drawing/2014/main" id="{C340557D-21BC-4B3A-843E-8BDBFFC8162F}"/>
              </a:ext>
            </a:extLst>
          </p:cNvPr>
          <p:cNvCxnSpPr/>
          <p:nvPr userDrawn="1"/>
        </p:nvCxnSpPr>
        <p:spPr bwMode="black">
          <a:xfrm>
            <a:off x="11710670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8">
            <a:extLst>
              <a:ext uri="{FF2B5EF4-FFF2-40B4-BE49-F238E27FC236}">
                <a16:creationId xmlns="" xmlns:a16="http://schemas.microsoft.com/office/drawing/2014/main" id="{35ED13F3-FC56-4DE6-B0C4-84047F8B841C}"/>
              </a:ext>
            </a:extLst>
          </p:cNvPr>
          <p:cNvCxnSpPr/>
          <p:nvPr userDrawn="1"/>
        </p:nvCxnSpPr>
        <p:spPr bwMode="black">
          <a:xfrm rot="16200000">
            <a:off x="-192684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0">
            <a:extLst>
              <a:ext uri="{FF2B5EF4-FFF2-40B4-BE49-F238E27FC236}">
                <a16:creationId xmlns="" xmlns:a16="http://schemas.microsoft.com/office/drawing/2014/main" id="{79BC122D-D90A-4E32-A53E-10F05E53A5A1}"/>
              </a:ext>
            </a:extLst>
          </p:cNvPr>
          <p:cNvCxnSpPr/>
          <p:nvPr userDrawn="1"/>
        </p:nvCxnSpPr>
        <p:spPr bwMode="black">
          <a:xfrm rot="16200000">
            <a:off x="-120684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2">
            <a:extLst>
              <a:ext uri="{FF2B5EF4-FFF2-40B4-BE49-F238E27FC236}">
                <a16:creationId xmlns="" xmlns:a16="http://schemas.microsoft.com/office/drawing/2014/main" id="{E72E964C-B59F-4C08-AD7A-01331E4FFD41}"/>
              </a:ext>
            </a:extLst>
          </p:cNvPr>
          <p:cNvCxnSpPr/>
          <p:nvPr userDrawn="1"/>
        </p:nvCxnSpPr>
        <p:spPr bwMode="black">
          <a:xfrm>
            <a:off x="480705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3">
            <a:extLst>
              <a:ext uri="{FF2B5EF4-FFF2-40B4-BE49-F238E27FC236}">
                <a16:creationId xmlns="" xmlns:a16="http://schemas.microsoft.com/office/drawing/2014/main" id="{60C36F8F-7ACA-4A39-BAD5-CF6A01E6C812}"/>
              </a:ext>
            </a:extLst>
          </p:cNvPr>
          <p:cNvCxnSpPr/>
          <p:nvPr userDrawn="1"/>
        </p:nvCxnSpPr>
        <p:spPr bwMode="black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18">
            <a:extLst>
              <a:ext uri="{FF2B5EF4-FFF2-40B4-BE49-F238E27FC236}">
                <a16:creationId xmlns="" xmlns:a16="http://schemas.microsoft.com/office/drawing/2014/main" id="{0592266D-8A8C-4FDD-B9AC-02F082A1A988}"/>
              </a:ext>
            </a:extLst>
          </p:cNvPr>
          <p:cNvCxnSpPr/>
          <p:nvPr userDrawn="1"/>
        </p:nvCxnSpPr>
        <p:spPr bwMode="black">
          <a:xfrm>
            <a:off x="5985348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19">
            <a:extLst>
              <a:ext uri="{FF2B5EF4-FFF2-40B4-BE49-F238E27FC236}">
                <a16:creationId xmlns="" xmlns:a16="http://schemas.microsoft.com/office/drawing/2014/main" id="{AB7F9677-99FF-483C-89AF-E52B0442377C}"/>
              </a:ext>
            </a:extLst>
          </p:cNvPr>
          <p:cNvCxnSpPr/>
          <p:nvPr userDrawn="1"/>
        </p:nvCxnSpPr>
        <p:spPr bwMode="black">
          <a:xfrm>
            <a:off x="6205221" y="-18088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18">
            <a:extLst>
              <a:ext uri="{FF2B5EF4-FFF2-40B4-BE49-F238E27FC236}">
                <a16:creationId xmlns="" xmlns:a16="http://schemas.microsoft.com/office/drawing/2014/main" id="{79FE2731-D692-4530-85CF-F1CB5B548FEF}"/>
              </a:ext>
            </a:extLst>
          </p:cNvPr>
          <p:cNvCxnSpPr/>
          <p:nvPr userDrawn="1"/>
        </p:nvCxnSpPr>
        <p:spPr bwMode="black">
          <a:xfrm>
            <a:off x="5985348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19">
            <a:extLst>
              <a:ext uri="{FF2B5EF4-FFF2-40B4-BE49-F238E27FC236}">
                <a16:creationId xmlns="" xmlns:a16="http://schemas.microsoft.com/office/drawing/2014/main" id="{1592936D-A264-452D-A69A-10FA59127DEB}"/>
              </a:ext>
            </a:extLst>
          </p:cNvPr>
          <p:cNvCxnSpPr/>
          <p:nvPr userDrawn="1"/>
        </p:nvCxnSpPr>
        <p:spPr bwMode="black">
          <a:xfrm>
            <a:off x="6205221" y="6917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9">
            <a:extLst>
              <a:ext uri="{FF2B5EF4-FFF2-40B4-BE49-F238E27FC236}">
                <a16:creationId xmlns="" xmlns:a16="http://schemas.microsoft.com/office/drawing/2014/main" id="{A7D76875-25BB-4EA9-8592-1277975D1090}"/>
              </a:ext>
            </a:extLst>
          </p:cNvPr>
          <p:cNvCxnSpPr/>
          <p:nvPr userDrawn="1"/>
        </p:nvCxnSpPr>
        <p:spPr bwMode="black">
          <a:xfrm rot="16200000">
            <a:off x="12312699" y="1414133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1">
            <a:extLst>
              <a:ext uri="{FF2B5EF4-FFF2-40B4-BE49-F238E27FC236}">
                <a16:creationId xmlns="" xmlns:a16="http://schemas.microsoft.com/office/drawing/2014/main" id="{31F69A75-3E85-4CF8-A42C-BDAE0230125D}"/>
              </a:ext>
            </a:extLst>
          </p:cNvPr>
          <p:cNvCxnSpPr/>
          <p:nvPr userDrawn="1"/>
        </p:nvCxnSpPr>
        <p:spPr bwMode="black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>
            <a:extLst>
              <a:ext uri="{FF2B5EF4-FFF2-40B4-BE49-F238E27FC236}">
                <a16:creationId xmlns="" xmlns:a16="http://schemas.microsoft.com/office/drawing/2014/main" id="{A308C538-8D7C-4BC1-A16A-DE222BCE7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6204575" y="3365345"/>
            <a:ext cx="5508000" cy="2160591"/>
          </a:xfrm>
        </p:spPr>
        <p:txBody>
          <a:bodyPr lIns="360000" t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scribing Copy in VW Text Office 52 pt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6203950" y="1939237"/>
            <a:ext cx="5508625" cy="1440394"/>
          </a:xfrm>
        </p:spPr>
        <p:txBody>
          <a:bodyPr lIns="360000" tIns="0" bIns="0" anchor="t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5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VW Head Office Bold 52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pic>
        <p:nvPicPr>
          <p:cNvPr id="22" name="Grafik 21">
            <a:extLst>
              <a:ext uri="{FF2B5EF4-FFF2-40B4-BE49-F238E27FC236}">
                <a16:creationId xmlns="" xmlns:a16="http://schemas.microsoft.com/office/drawing/2014/main" id="{5E3B3AE5-3954-495E-9F70-E73B68F2BBE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062670" y="60579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020240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creen picture dar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="" xmlns:a16="http://schemas.microsoft.com/office/drawing/2014/main" id="{13352F42-8138-4C9A-982D-B566B6143D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70028" name="think-cell Folie" r:id="rId4" imgW="360" imgH="360" progId="">
              <p:embed/>
            </p:oleObj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="" xmlns:a16="http://schemas.microsoft.com/office/drawing/2014/main" id="{C94C3513-E0BF-4E40-B55D-750F56BD358D}"/>
              </a:ext>
            </a:extLst>
          </p:cNvPr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>
              <a:extLst>
                <a:ext uri="{FF2B5EF4-FFF2-40B4-BE49-F238E27FC236}">
                  <a16:creationId xmlns="" xmlns:a16="http://schemas.microsoft.com/office/drawing/2014/main" id="{D6D93960-AB18-4E88-9BF3-D43049352919}"/>
                </a:ext>
              </a:extLst>
            </p:cNvPr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7">
              <a:extLst>
                <a:ext uri="{FF2B5EF4-FFF2-40B4-BE49-F238E27FC236}">
                  <a16:creationId xmlns="" xmlns:a16="http://schemas.microsoft.com/office/drawing/2014/main" id="{FCA382C2-9265-4B84-9369-265CE6C6B303}"/>
                </a:ext>
              </a:extLst>
            </p:cNvPr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8">
              <a:extLst>
                <a:ext uri="{FF2B5EF4-FFF2-40B4-BE49-F238E27FC236}">
                  <a16:creationId xmlns="" xmlns:a16="http://schemas.microsoft.com/office/drawing/2014/main" id="{E740232D-0571-4A4A-B683-66BB82153CA7}"/>
                </a:ext>
              </a:extLst>
            </p:cNvPr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9">
              <a:extLst>
                <a:ext uri="{FF2B5EF4-FFF2-40B4-BE49-F238E27FC236}">
                  <a16:creationId xmlns="" xmlns:a16="http://schemas.microsoft.com/office/drawing/2014/main" id="{F78359BB-1D17-4D59-8BC7-9E8894170944}"/>
                </a:ext>
              </a:extLst>
            </p:cNvPr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0">
              <a:extLst>
                <a:ext uri="{FF2B5EF4-FFF2-40B4-BE49-F238E27FC236}">
                  <a16:creationId xmlns="" xmlns:a16="http://schemas.microsoft.com/office/drawing/2014/main" id="{F4110EDE-09FF-449E-B60F-A6439AAF6920}"/>
                </a:ext>
              </a:extLst>
            </p:cNvPr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">
              <a:extLst>
                <a:ext uri="{FF2B5EF4-FFF2-40B4-BE49-F238E27FC236}">
                  <a16:creationId xmlns="" xmlns:a16="http://schemas.microsoft.com/office/drawing/2014/main" id="{A3A3B7D4-44AA-497B-9334-7C7E5E88C625}"/>
                </a:ext>
              </a:extLst>
            </p:cNvPr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2">
              <a:extLst>
                <a:ext uri="{FF2B5EF4-FFF2-40B4-BE49-F238E27FC236}">
                  <a16:creationId xmlns="" xmlns:a16="http://schemas.microsoft.com/office/drawing/2014/main" id="{4981A131-371C-4CB9-B8F2-1AF2A3CFCA35}"/>
                </a:ext>
              </a:extLst>
            </p:cNvPr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3">
              <a:extLst>
                <a:ext uri="{FF2B5EF4-FFF2-40B4-BE49-F238E27FC236}">
                  <a16:creationId xmlns="" xmlns:a16="http://schemas.microsoft.com/office/drawing/2014/main" id="{50741E15-E504-4C47-AFD8-9649640132DB}"/>
                </a:ext>
              </a:extLst>
            </p:cNvPr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>
              <a:extLst>
                <a:ext uri="{FF2B5EF4-FFF2-40B4-BE49-F238E27FC236}">
                  <a16:creationId xmlns="" xmlns:a16="http://schemas.microsoft.com/office/drawing/2014/main" id="{9D92C037-550C-43B3-B2D5-85688AD484A3}"/>
                </a:ext>
              </a:extLst>
            </p:cNvPr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>
              <a:extLst>
                <a:ext uri="{FF2B5EF4-FFF2-40B4-BE49-F238E27FC236}">
                  <a16:creationId xmlns="" xmlns:a16="http://schemas.microsoft.com/office/drawing/2014/main" id="{13865562-809D-47E2-A66F-2A99A83B9585}"/>
                </a:ext>
              </a:extLst>
            </p:cNvPr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8">
              <a:extLst>
                <a:ext uri="{FF2B5EF4-FFF2-40B4-BE49-F238E27FC236}">
                  <a16:creationId xmlns="" xmlns:a16="http://schemas.microsoft.com/office/drawing/2014/main" id="{DECD4A31-3E48-4F2A-851C-281FF4619AB3}"/>
                </a:ext>
              </a:extLst>
            </p:cNvPr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9">
              <a:extLst>
                <a:ext uri="{FF2B5EF4-FFF2-40B4-BE49-F238E27FC236}">
                  <a16:creationId xmlns="" xmlns:a16="http://schemas.microsoft.com/office/drawing/2014/main" id="{E32D9135-9F10-45DB-9D02-C91DB225FBD8}"/>
                </a:ext>
              </a:extLst>
            </p:cNvPr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ildplatzhalter 4">
            <a:extLst>
              <a:ext uri="{FF2B5EF4-FFF2-40B4-BE49-F238E27FC236}">
                <a16:creationId xmlns="" xmlns:a16="http://schemas.microsoft.com/office/drawing/2014/main" id="{ED332341-79D1-4311-BC9B-4C3E106038B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lIns="720000" rIns="720000"/>
          <a:lstStyle>
            <a:lvl1pPr algn="ctr">
              <a:spcBef>
                <a:spcPts val="0"/>
              </a:spcBef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To insert a dark background image: Please click on the image placeholder and then select an image by clicking on the “Insert“ tab and choosing the “Pictures“ command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3674F971-C7A1-477D-8AE0-F62741280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="" xmlns:a16="http://schemas.microsoft.com/office/drawing/2014/main" id="{C2EC2808-3D34-4DD5-BCA0-8DE0E99DD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4" name="Textplatzhalter 59">
            <a:extLst>
              <a:ext uri="{FF2B5EF4-FFF2-40B4-BE49-F238E27FC236}">
                <a16:creationId xmlns="" xmlns:a16="http://schemas.microsoft.com/office/drawing/2014/main" id="{9D126C69-9917-4C29-8604-8598583E93F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1064575" y="6057900"/>
            <a:ext cx="648000" cy="64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4112309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creen picture 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="" xmlns:a16="http://schemas.microsoft.com/office/drawing/2014/main" id="{B15E4F81-BF99-43CC-A760-0249283C31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71052" name="think-cell Folie" r:id="rId4" imgW="360" imgH="360" progId="">
              <p:embed/>
            </p:oleObj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="" xmlns:a16="http://schemas.microsoft.com/office/drawing/2014/main" id="{B98716A3-4317-49A4-A516-0CAB7EE9EADA}"/>
              </a:ext>
            </a:extLst>
          </p:cNvPr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2" name="Gerade Verbindung 6">
              <a:extLst>
                <a:ext uri="{FF2B5EF4-FFF2-40B4-BE49-F238E27FC236}">
                  <a16:creationId xmlns="" xmlns:a16="http://schemas.microsoft.com/office/drawing/2014/main" id="{968259DA-C4F4-42AE-AA1E-4FCA4BFD2F74}"/>
                </a:ext>
              </a:extLst>
            </p:cNvPr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7">
              <a:extLst>
                <a:ext uri="{FF2B5EF4-FFF2-40B4-BE49-F238E27FC236}">
                  <a16:creationId xmlns="" xmlns:a16="http://schemas.microsoft.com/office/drawing/2014/main" id="{D584E2B3-1B07-400A-834E-C84919DD4AED}"/>
                </a:ext>
              </a:extLst>
            </p:cNvPr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>
              <a:extLst>
                <a:ext uri="{FF2B5EF4-FFF2-40B4-BE49-F238E27FC236}">
                  <a16:creationId xmlns="" xmlns:a16="http://schemas.microsoft.com/office/drawing/2014/main" id="{8D147300-2B5E-4928-945F-AF9187208EE7}"/>
                </a:ext>
              </a:extLst>
            </p:cNvPr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>
              <a:extLst>
                <a:ext uri="{FF2B5EF4-FFF2-40B4-BE49-F238E27FC236}">
                  <a16:creationId xmlns="" xmlns:a16="http://schemas.microsoft.com/office/drawing/2014/main" id="{00096ED0-8C02-4E4F-A9D5-896D2531765F}"/>
                </a:ext>
              </a:extLst>
            </p:cNvPr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>
              <a:extLst>
                <a:ext uri="{FF2B5EF4-FFF2-40B4-BE49-F238E27FC236}">
                  <a16:creationId xmlns="" xmlns:a16="http://schemas.microsoft.com/office/drawing/2014/main" id="{0343AD15-AA2D-4FA3-A7A4-0F3B9B2D46E0}"/>
                </a:ext>
              </a:extLst>
            </p:cNvPr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">
              <a:extLst>
                <a:ext uri="{FF2B5EF4-FFF2-40B4-BE49-F238E27FC236}">
                  <a16:creationId xmlns="" xmlns:a16="http://schemas.microsoft.com/office/drawing/2014/main" id="{3BC863F9-C281-4C65-995F-7DA22245A8CE}"/>
                </a:ext>
              </a:extLst>
            </p:cNvPr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>
              <a:extLst>
                <a:ext uri="{FF2B5EF4-FFF2-40B4-BE49-F238E27FC236}">
                  <a16:creationId xmlns="" xmlns:a16="http://schemas.microsoft.com/office/drawing/2014/main" id="{395D0265-0A40-4776-A0A6-9945A258C019}"/>
                </a:ext>
              </a:extLst>
            </p:cNvPr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>
              <a:extLst>
                <a:ext uri="{FF2B5EF4-FFF2-40B4-BE49-F238E27FC236}">
                  <a16:creationId xmlns="" xmlns:a16="http://schemas.microsoft.com/office/drawing/2014/main" id="{F51B9021-1044-4419-9F74-E7069B9197BE}"/>
                </a:ext>
              </a:extLst>
            </p:cNvPr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8">
              <a:extLst>
                <a:ext uri="{FF2B5EF4-FFF2-40B4-BE49-F238E27FC236}">
                  <a16:creationId xmlns="" xmlns:a16="http://schemas.microsoft.com/office/drawing/2014/main" id="{834A74C2-6628-40E1-9DA8-3F00E08C9CAA}"/>
                </a:ext>
              </a:extLst>
            </p:cNvPr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9">
              <a:extLst>
                <a:ext uri="{FF2B5EF4-FFF2-40B4-BE49-F238E27FC236}">
                  <a16:creationId xmlns="" xmlns:a16="http://schemas.microsoft.com/office/drawing/2014/main" id="{7AE4E1E1-93D4-43A4-AB5E-7DDBFF946DF7}"/>
                </a:ext>
              </a:extLst>
            </p:cNvPr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8">
              <a:extLst>
                <a:ext uri="{FF2B5EF4-FFF2-40B4-BE49-F238E27FC236}">
                  <a16:creationId xmlns="" xmlns:a16="http://schemas.microsoft.com/office/drawing/2014/main" id="{4ABF7A17-2A90-47F9-9E6F-7C2A1133BF82}"/>
                </a:ext>
              </a:extLst>
            </p:cNvPr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9">
              <a:extLst>
                <a:ext uri="{FF2B5EF4-FFF2-40B4-BE49-F238E27FC236}">
                  <a16:creationId xmlns="" xmlns:a16="http://schemas.microsoft.com/office/drawing/2014/main" id="{6153BE47-17AD-4A9F-AF96-DD1D516D4F70}"/>
                </a:ext>
              </a:extLst>
            </p:cNvPr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Bildplatzhalter 4">
            <a:extLst>
              <a:ext uri="{FF2B5EF4-FFF2-40B4-BE49-F238E27FC236}">
                <a16:creationId xmlns="" xmlns:a16="http://schemas.microsoft.com/office/drawing/2014/main" id="{1D05A838-DB24-4E30-9B4B-D34C31F0CA2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lIns="720000" rIns="720000"/>
          <a:lstStyle>
            <a:lvl1pPr algn="ctr">
              <a:spcBef>
                <a:spcPts val="0"/>
              </a:spcBef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To insert a light background image: Please click on the image placeholder and then select an image by clicking on the “Insert“ tab and choosing the “Pictures“ command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3674F971-C7A1-477D-8AE0-F62741280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="" xmlns:a16="http://schemas.microsoft.com/office/drawing/2014/main" id="{C2EC2808-3D34-4DD5-BCA0-8DE0E99DD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7" name="Textplatzhalter 59">
            <a:extLst>
              <a:ext uri="{FF2B5EF4-FFF2-40B4-BE49-F238E27FC236}">
                <a16:creationId xmlns="" xmlns:a16="http://schemas.microsoft.com/office/drawing/2014/main" id="{0BF1A306-8025-452B-874F-8E6FFE81EC8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4575" y="6057900"/>
            <a:ext cx="648000" cy="64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261756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="" xmlns:a16="http://schemas.microsoft.com/office/drawing/2014/main" id="{B826A5FE-8328-4984-86FC-5897F3313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84031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2628" name="think-cell Folie" r:id="rId5" imgW="360" imgH="360" progId="">
              <p:embed/>
            </p:oleObj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="" xmlns:a16="http://schemas.microsoft.com/office/drawing/2014/main" id="{E29FC3BB-E621-4F70-9DD0-5E6F47FA3B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="" xmlns:a16="http://schemas.microsoft.com/office/drawing/2014/main" id="{CC7BE88F-0B1D-454F-A992-9F899926A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94575" y="1486800"/>
            <a:ext cx="3618000" cy="45711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/>
            </a:lvl3pPr>
            <a:lvl4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/>
            </a:lvl4pPr>
          </a:lstStyle>
          <a:p>
            <a:pPr lvl="1"/>
            <a:r>
              <a:rPr lang="en-US" noProof="0"/>
              <a:t>Placeholder Subtit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Thir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78801" y="1486800"/>
            <a:ext cx="7423940" cy="4571100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vert="horz" wrap="square" lIns="0" tIns="1692000" rIns="0" bIns="0" rtlCol="0">
            <a:noAutofit/>
          </a:bodyPr>
          <a:lstStyle>
            <a:lvl1pPr algn="ctr">
              <a:spcBef>
                <a:spcPts val="0"/>
              </a:spcBef>
              <a:defRPr lang="en-US" dirty="0">
                <a:latin typeface="+mj-lt"/>
              </a:defRPr>
            </a:lvl1pPr>
          </a:lstStyle>
          <a:p>
            <a:pPr lvl="0" algn="ctr"/>
            <a:r>
              <a:rPr lang="en-US" noProof="0"/>
              <a:t>Insert an image by clicking on symbol below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DBA20E7A-8262-4FB8-9C89-14C4811BC6E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Creation date: </a:t>
            </a:r>
            <a:r>
              <a:rPr lang="en-US" noProof="0" dirty="0" err="1"/>
              <a:t>mm.dd.yy</a:t>
            </a:r>
            <a:r>
              <a:rPr lang="en-US" noProof="0" dirty="0"/>
              <a:t> | Responsible department for filing: </a:t>
            </a:r>
            <a:r>
              <a:rPr lang="en-US" noProof="0" dirty="0" err="1"/>
              <a:t>xxxx</a:t>
            </a:r>
            <a:r>
              <a:rPr lang="en-US" noProof="0" dirty="0"/>
              <a:t>-xx | CSD-Class: </a:t>
            </a:r>
            <a:r>
              <a:rPr lang="en-US" noProof="0" dirty="0" err="1"/>
              <a:t>xx.x</a:t>
            </a:r>
            <a:r>
              <a:rPr lang="en-US" noProof="0" dirty="0"/>
              <a:t> – xx years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49729934-6A43-41FB-9235-7C7F5730E6E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435595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picture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="" xmlns:a16="http://schemas.microsoft.com/office/drawing/2014/main" id="{19525EAE-C26C-4A66-9F38-94E8B71BC7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973624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3652" name="think-cell Folie" r:id="rId5" imgW="360" imgH="360" progId="">
              <p:embed/>
            </p:oleObj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="" xmlns:a16="http://schemas.microsoft.com/office/drawing/2014/main" id="{FFEAA369-5E34-43AB-B74B-B1CD17475B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3" name="Textplatzhalter 7">
            <a:extLst>
              <a:ext uri="{FF2B5EF4-FFF2-40B4-BE49-F238E27FC236}">
                <a16:creationId xmlns="" xmlns:a16="http://schemas.microsoft.com/office/drawing/2014/main" id="{B365DD1F-E103-4D8F-81A3-7E80E5BAAF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b="0"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424" y="4389108"/>
            <a:ext cx="5508000" cy="1668792"/>
          </a:xfrm>
        </p:spPr>
        <p:txBody>
          <a:bodyPr/>
          <a:lstStyle>
            <a:lvl1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1pPr>
            <a:lvl2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2pPr>
            <a:lvl3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3pPr>
            <a:lvl4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  <a:p>
            <a:pPr lvl="3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79425" y="1486800"/>
            <a:ext cx="5508000" cy="2737486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vert="horz" wrap="square" lIns="0" tIns="792000" rIns="0" bIns="0" rtlCol="0">
            <a:noAutofit/>
          </a:bodyPr>
          <a:lstStyle>
            <a:lvl1pPr algn="ctr">
              <a:spcBef>
                <a:spcPts val="0"/>
              </a:spcBef>
              <a:defRPr lang="en-US" dirty="0">
                <a:latin typeface="+mj-lt"/>
              </a:defRPr>
            </a:lvl1pPr>
          </a:lstStyle>
          <a:p>
            <a:pPr lvl="0" algn="ctr"/>
            <a:r>
              <a:rPr lang="en-US" noProof="0" dirty="0"/>
              <a:t>Insert an image by clicking on symbol below</a:t>
            </a:r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203950" y="1486800"/>
            <a:ext cx="5508625" cy="2737486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vert="horz" wrap="square" lIns="0" tIns="792000" rIns="0" bIns="0" rtlCol="0">
            <a:noAutofit/>
          </a:bodyPr>
          <a:lstStyle>
            <a:lvl1pPr algn="ctr">
              <a:spcBef>
                <a:spcPts val="0"/>
              </a:spcBef>
              <a:defRPr lang="en-US" dirty="0">
                <a:latin typeface="+mj-lt"/>
              </a:defRPr>
            </a:lvl1pPr>
          </a:lstStyle>
          <a:p>
            <a:pPr lvl="0" algn="ctr"/>
            <a:r>
              <a:rPr lang="en-US" noProof="0"/>
              <a:t>Insert an image by clicking on symbol below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6A6925FD-1D02-4673-B015-E36AC91B0D2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E82B971F-4CF5-4893-9C89-D3BFDF94463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platzhalter 6">
            <a:extLst>
              <a:ext uri="{FF2B5EF4-FFF2-40B4-BE49-F238E27FC236}">
                <a16:creationId xmlns="" xmlns:a16="http://schemas.microsoft.com/office/drawing/2014/main" id="{C5932EDF-8463-4A4F-B073-ED3490C1F03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575" y="4389108"/>
            <a:ext cx="5508000" cy="1668792"/>
          </a:xfrm>
        </p:spPr>
        <p:txBody>
          <a:bodyPr/>
          <a:lstStyle>
            <a:lvl1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1pPr>
            <a:lvl2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2pPr>
            <a:lvl3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3pPr>
            <a:lvl4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  <a:p>
            <a:pPr lvl="3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35561347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picture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="" xmlns:a16="http://schemas.microsoft.com/office/drawing/2014/main" id="{352E5FD6-8629-4E5E-9082-A858393221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54680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4676" name="think-cell Folie" r:id="rId5" imgW="360" imgH="360" progId="">
              <p:embed/>
            </p:oleObj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="" xmlns:a16="http://schemas.microsoft.com/office/drawing/2014/main" id="{C5616770-D3B7-4783-AED4-2194F08FB8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6" name="Textplatzhalter 7">
            <a:extLst>
              <a:ext uri="{FF2B5EF4-FFF2-40B4-BE49-F238E27FC236}">
                <a16:creationId xmlns="" xmlns:a16="http://schemas.microsoft.com/office/drawing/2014/main" id="{CF1180AD-4747-4BD8-B429-434156C144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b="0"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79425" y="1486800"/>
            <a:ext cx="3616720" cy="2736738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vert="horz" wrap="square" lIns="0" tIns="504000" rIns="0" bIns="0" rtlCol="0">
            <a:noAutofit/>
          </a:bodyPr>
          <a:lstStyle>
            <a:lvl1pPr algn="ctr">
              <a:spcBef>
                <a:spcPts val="0"/>
              </a:spcBef>
              <a:defRPr lang="en-US" dirty="0">
                <a:latin typeface="+mj-lt"/>
              </a:defRPr>
            </a:lvl1pPr>
          </a:lstStyle>
          <a:p>
            <a:pPr lvl="0" algn="ctr"/>
            <a:r>
              <a:rPr lang="en-US" noProof="0" dirty="0"/>
              <a:t>Insert an image by clicking on symbol below</a:t>
            </a:r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4286021" y="1486800"/>
            <a:ext cx="3616720" cy="2736738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vert="horz" wrap="square" lIns="0" tIns="504000" rIns="0" bIns="0" rtlCol="0">
            <a:noAutofit/>
          </a:bodyPr>
          <a:lstStyle>
            <a:lvl1pPr algn="ctr">
              <a:spcBef>
                <a:spcPts val="0"/>
              </a:spcBef>
              <a:defRPr lang="en-US" dirty="0">
                <a:latin typeface="+mj-lt"/>
              </a:defRPr>
            </a:lvl1pPr>
          </a:lstStyle>
          <a:p>
            <a:pPr lvl="0" algn="ctr"/>
            <a:r>
              <a:rPr lang="en-US" noProof="0"/>
              <a:t>Insert an image by clicking on symbol below</a:t>
            </a:r>
          </a:p>
        </p:txBody>
      </p:sp>
      <p:sp>
        <p:nvSpPr>
          <p:cNvPr id="15" name="Bildplatzhalter 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098470" y="1486800"/>
            <a:ext cx="3618000" cy="2736738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vert="horz" wrap="square" lIns="0" tIns="504000" rIns="0" bIns="0" rtlCol="0">
            <a:noAutofit/>
          </a:bodyPr>
          <a:lstStyle>
            <a:lvl1pPr algn="ctr">
              <a:spcBef>
                <a:spcPts val="0"/>
              </a:spcBef>
              <a:defRPr lang="en-US" dirty="0">
                <a:latin typeface="+mj-lt"/>
              </a:defRPr>
            </a:lvl1pPr>
          </a:lstStyle>
          <a:p>
            <a:pPr lvl="0" algn="ctr"/>
            <a:r>
              <a:rPr lang="en-US" noProof="0"/>
              <a:t>Insert an image by clicking on symbol below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="" xmlns:a16="http://schemas.microsoft.com/office/drawing/2014/main" id="{B4597746-4CFC-4AD5-A9BC-19E64941D86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="" xmlns:a16="http://schemas.microsoft.com/office/drawing/2014/main" id="{A9EE4FCD-AFA3-4CE3-A67B-5E188964557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7" name="Textplatzhalter 6">
            <a:extLst>
              <a:ext uri="{FF2B5EF4-FFF2-40B4-BE49-F238E27FC236}">
                <a16:creationId xmlns="" xmlns:a16="http://schemas.microsoft.com/office/drawing/2014/main" id="{97DDB8A1-E4BF-4FC7-B158-50F2CA4C3B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424" y="4389108"/>
            <a:ext cx="3616720" cy="1668792"/>
          </a:xfrm>
        </p:spPr>
        <p:txBody>
          <a:bodyPr/>
          <a:lstStyle>
            <a:lvl1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1pPr>
            <a:lvl2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2pPr>
            <a:lvl3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3pPr>
            <a:lvl4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  <a:p>
            <a:pPr lvl="3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="" xmlns:a16="http://schemas.microsoft.com/office/drawing/2014/main" id="{DAF48C35-A1AE-4084-A511-7E133A688B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286021" y="4389108"/>
            <a:ext cx="3616720" cy="1668792"/>
          </a:xfrm>
        </p:spPr>
        <p:txBody>
          <a:bodyPr/>
          <a:lstStyle>
            <a:lvl1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1pPr>
            <a:lvl2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2pPr>
            <a:lvl3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3pPr>
            <a:lvl4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  <a:p>
            <a:pPr lvl="3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="" xmlns:a16="http://schemas.microsoft.com/office/drawing/2014/main" id="{9B1CFAFA-008F-4583-A31B-2D0CFC378F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099750" y="4389108"/>
            <a:ext cx="3612825" cy="1668792"/>
          </a:xfrm>
        </p:spPr>
        <p:txBody>
          <a:bodyPr/>
          <a:lstStyle>
            <a:lvl1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1pPr>
            <a:lvl2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2pPr>
            <a:lvl3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3pPr>
            <a:lvl4pPr marL="252000" indent="-252000">
              <a:spcBef>
                <a:spcPts val="400"/>
              </a:spcBef>
              <a:buFont typeface="VW Text Office" panose="020B0503040200000003" pitchFamily="34" charset="0"/>
              <a:buChar char="–"/>
              <a:defRPr sz="1800">
                <a:latin typeface="+mn-lt"/>
              </a:defRPr>
            </a:lvl4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  <a:p>
            <a:pPr lvl="3"/>
            <a:r>
              <a:rPr lang="en-US" noProof="0"/>
              <a:t>First level</a:t>
            </a:r>
          </a:p>
          <a:p>
            <a:pPr lvl="2"/>
            <a:r>
              <a:rPr lang="en-US" noProof="0"/>
              <a:t>First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34785767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="" xmlns:a16="http://schemas.microsoft.com/office/drawing/2014/main" id="{79598C81-C499-4E66-9C1F-31A1B8E0C0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46759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5700" name="think-cell Folie" r:id="rId5" imgW="360" imgH="360" progId="">
              <p:embed/>
            </p:oleObj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="" xmlns:a16="http://schemas.microsoft.com/office/drawing/2014/main" id="{9F4F20C6-B8F2-460A-B37B-DC84918010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11" name="Textplatzhalter 7">
            <a:extLst>
              <a:ext uri="{FF2B5EF4-FFF2-40B4-BE49-F238E27FC236}">
                <a16:creationId xmlns="" xmlns:a16="http://schemas.microsoft.com/office/drawing/2014/main" id="{C87FD146-0C97-47F2-8F72-DB128B20BF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/>
              <a:t>Placeholder subtitl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1233150" cy="360099"/>
          </a:xfrm>
        </p:spPr>
        <p:txBody>
          <a:bodyPr>
            <a:spAutoFit/>
          </a:bodyPr>
          <a:lstStyle>
            <a:lvl1pPr>
              <a:defRPr b="0"/>
            </a:lvl1pPr>
          </a:lstStyle>
          <a:p>
            <a:r>
              <a:rPr lang="en-US" noProof="0"/>
              <a:t>Placeholder slide titl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8800" y="1486800"/>
            <a:ext cx="11233150" cy="287259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Graph headlin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="" xmlns:a16="http://schemas.microsoft.com/office/drawing/2014/main" id="{446BE373-CBB6-412E-B05C-0A164925AD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8800" y="1828429"/>
            <a:ext cx="11233150" cy="205184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333" b="0">
                <a:latin typeface="+mn-lt"/>
              </a:defRPr>
            </a:lvl1pPr>
          </a:lstStyle>
          <a:p>
            <a:pPr lvl="0"/>
            <a:r>
              <a:rPr lang="en-US" noProof="0"/>
              <a:t>Value unit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="" xmlns:a16="http://schemas.microsoft.com/office/drawing/2014/main" id="{8E40377A-F96B-46AF-BFDC-C3709E357D01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478801" y="2348880"/>
            <a:ext cx="11233774" cy="3483102"/>
          </a:xfrm>
        </p:spPr>
        <p:txBody>
          <a:bodyPr tIns="1152000"/>
          <a:lstStyle>
            <a:lvl1pPr algn="ctr">
              <a:spcBef>
                <a:spcPts val="0"/>
              </a:spcBef>
              <a:defRPr>
                <a:latin typeface="+mn-lt"/>
              </a:defRPr>
            </a:lvl1pPr>
          </a:lstStyle>
          <a:p>
            <a:r>
              <a:rPr lang="en-US" noProof="0" dirty="0"/>
              <a:t>Insert a graph by clicking on symbol below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="" xmlns:a16="http://schemas.microsoft.com/office/drawing/2014/main" id="{82A8F1D1-5EDA-4D11-80EC-E7437F5C2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8801" y="5903404"/>
            <a:ext cx="11233150" cy="153888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pPr lvl="0"/>
            <a:r>
              <a:rPr lang="en-US" noProof="0"/>
              <a:t>* Space for Footnot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BA6BB72-9F96-4521-83C5-C8202BDECDA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7A5384AF-BAE1-4968-8830-F9A817BA96A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18921852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="" xmlns:a16="http://schemas.microsoft.com/office/drawing/2014/main" id="{5DC8F6D9-31E0-48BE-922D-9DD19DDB3A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289670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369" name="think-cell Folie" r:id="rId4" imgW="360" imgH="360" progId="">
              <p:embed/>
            </p:oleObj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="" xmlns:a16="http://schemas.microsoft.com/office/drawing/2014/main" id="{3F48B80C-05D9-497D-AABF-276FE584D9B2}"/>
              </a:ext>
            </a:extLst>
          </p:cNvPr>
          <p:cNvGrpSpPr/>
          <p:nvPr userDrawn="1"/>
        </p:nvGrpSpPr>
        <p:grpSpPr bwMode="black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7" name="Gerade Verbindung 6">
              <a:extLst>
                <a:ext uri="{FF2B5EF4-FFF2-40B4-BE49-F238E27FC236}">
                  <a16:creationId xmlns="" xmlns:a16="http://schemas.microsoft.com/office/drawing/2014/main" id="{B5D30CB3-8DCE-46D4-97E1-433214D3DA8B}"/>
                </a:ext>
              </a:extLst>
            </p:cNvPr>
            <p:cNvCxnSpPr/>
            <p:nvPr userDrawn="1"/>
          </p:nvCxnSpPr>
          <p:spPr bwMode="black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7">
              <a:extLst>
                <a:ext uri="{FF2B5EF4-FFF2-40B4-BE49-F238E27FC236}">
                  <a16:creationId xmlns="" xmlns:a16="http://schemas.microsoft.com/office/drawing/2014/main" id="{2B0DA408-6F55-4CEE-B138-E0F8D54E8634}"/>
                </a:ext>
              </a:extLst>
            </p:cNvPr>
            <p:cNvCxnSpPr/>
            <p:nvPr userDrawn="1"/>
          </p:nvCxnSpPr>
          <p:spPr bwMode="black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8">
              <a:extLst>
                <a:ext uri="{FF2B5EF4-FFF2-40B4-BE49-F238E27FC236}">
                  <a16:creationId xmlns="" xmlns:a16="http://schemas.microsoft.com/office/drawing/2014/main" id="{BD15980B-96EB-416D-9686-5DC14A7E4295}"/>
                </a:ext>
              </a:extLst>
            </p:cNvPr>
            <p:cNvCxnSpPr/>
            <p:nvPr userDrawn="1"/>
          </p:nvCxnSpPr>
          <p:spPr bwMode="black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9">
              <a:extLst>
                <a:ext uri="{FF2B5EF4-FFF2-40B4-BE49-F238E27FC236}">
                  <a16:creationId xmlns="" xmlns:a16="http://schemas.microsoft.com/office/drawing/2014/main" id="{55B6DFA9-2A5E-4216-B385-ED4653DE7EF3}"/>
                </a:ext>
              </a:extLst>
            </p:cNvPr>
            <p:cNvCxnSpPr/>
            <p:nvPr userDrawn="1"/>
          </p:nvCxnSpPr>
          <p:spPr bwMode="black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0">
              <a:extLst>
                <a:ext uri="{FF2B5EF4-FFF2-40B4-BE49-F238E27FC236}">
                  <a16:creationId xmlns="" xmlns:a16="http://schemas.microsoft.com/office/drawing/2014/main" id="{78C50E1E-999F-487D-AE03-C3F5E8BD9614}"/>
                </a:ext>
              </a:extLst>
            </p:cNvPr>
            <p:cNvCxnSpPr/>
            <p:nvPr userDrawn="1"/>
          </p:nvCxnSpPr>
          <p:spPr bwMode="black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1">
              <a:extLst>
                <a:ext uri="{FF2B5EF4-FFF2-40B4-BE49-F238E27FC236}">
                  <a16:creationId xmlns="" xmlns:a16="http://schemas.microsoft.com/office/drawing/2014/main" id="{174311A6-19DC-4DBF-AE75-457DB8F1C528}"/>
                </a:ext>
              </a:extLst>
            </p:cNvPr>
            <p:cNvCxnSpPr/>
            <p:nvPr userDrawn="1"/>
          </p:nvCxnSpPr>
          <p:spPr bwMode="black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2">
              <a:extLst>
                <a:ext uri="{FF2B5EF4-FFF2-40B4-BE49-F238E27FC236}">
                  <a16:creationId xmlns="" xmlns:a16="http://schemas.microsoft.com/office/drawing/2014/main" id="{9F35A458-21F3-418D-887A-69587105507B}"/>
                </a:ext>
              </a:extLst>
            </p:cNvPr>
            <p:cNvCxnSpPr/>
            <p:nvPr userDrawn="1"/>
          </p:nvCxnSpPr>
          <p:spPr bwMode="black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3">
              <a:extLst>
                <a:ext uri="{FF2B5EF4-FFF2-40B4-BE49-F238E27FC236}">
                  <a16:creationId xmlns="" xmlns:a16="http://schemas.microsoft.com/office/drawing/2014/main" id="{DF76FF84-1817-43D6-8D3D-E892DF6962E7}"/>
                </a:ext>
              </a:extLst>
            </p:cNvPr>
            <p:cNvCxnSpPr/>
            <p:nvPr userDrawn="1"/>
          </p:nvCxnSpPr>
          <p:spPr bwMode="black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8">
              <a:extLst>
                <a:ext uri="{FF2B5EF4-FFF2-40B4-BE49-F238E27FC236}">
                  <a16:creationId xmlns="" xmlns:a16="http://schemas.microsoft.com/office/drawing/2014/main" id="{D1D289C6-584D-4CF9-B5D1-6409C57CAA64}"/>
                </a:ext>
              </a:extLst>
            </p:cNvPr>
            <p:cNvCxnSpPr/>
            <p:nvPr userDrawn="1"/>
          </p:nvCxnSpPr>
          <p:spPr bwMode="black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9">
              <a:extLst>
                <a:ext uri="{FF2B5EF4-FFF2-40B4-BE49-F238E27FC236}">
                  <a16:creationId xmlns="" xmlns:a16="http://schemas.microsoft.com/office/drawing/2014/main" id="{74D7AAC8-1BD6-4C07-B979-66A0BBBDB3E6}"/>
                </a:ext>
              </a:extLst>
            </p:cNvPr>
            <p:cNvCxnSpPr/>
            <p:nvPr userDrawn="1"/>
          </p:nvCxnSpPr>
          <p:spPr bwMode="black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>
              <a:extLst>
                <a:ext uri="{FF2B5EF4-FFF2-40B4-BE49-F238E27FC236}">
                  <a16:creationId xmlns="" xmlns:a16="http://schemas.microsoft.com/office/drawing/2014/main" id="{687F72D4-D5E5-4D2A-A2DB-EF12840AFE4C}"/>
                </a:ext>
              </a:extLst>
            </p:cNvPr>
            <p:cNvCxnSpPr/>
            <p:nvPr userDrawn="1"/>
          </p:nvCxnSpPr>
          <p:spPr bwMode="black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>
              <a:extLst>
                <a:ext uri="{FF2B5EF4-FFF2-40B4-BE49-F238E27FC236}">
                  <a16:creationId xmlns="" xmlns:a16="http://schemas.microsoft.com/office/drawing/2014/main" id="{1EB03215-3361-4031-8434-704F8E154B32}"/>
                </a:ext>
              </a:extLst>
            </p:cNvPr>
            <p:cNvCxnSpPr/>
            <p:nvPr userDrawn="1"/>
          </p:nvCxnSpPr>
          <p:spPr bwMode="black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79425" y="1797053"/>
            <a:ext cx="11233150" cy="650838"/>
          </a:xfrm>
        </p:spPr>
        <p:txBody>
          <a:bodyPr wrap="square" lIns="0" tIns="360000">
            <a:spAutoFit/>
          </a:bodyPr>
          <a:lstStyle>
            <a:lvl1pPr>
              <a:spcBef>
                <a:spcPts val="267"/>
              </a:spcBef>
              <a:defRPr>
                <a:solidFill>
                  <a:schemeClr val="bg1"/>
                </a:solidFill>
                <a:latin typeface="VW Text Office" panose="020B05030402000000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ontact slid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479425" y="4200076"/>
            <a:ext cx="11233150" cy="287259"/>
          </a:xfrm>
        </p:spPr>
        <p:txBody>
          <a:bodyPr wrap="square" lIns="0" tIns="0">
            <a:spAutoFit/>
          </a:bodyPr>
          <a:lstStyle>
            <a:lvl1pPr>
              <a:spcBef>
                <a:spcPts val="267"/>
              </a:spcBef>
              <a:defRPr lang="en-GB" dirty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r>
              <a:rPr lang="en-US" noProof="0" dirty="0">
                <a:latin typeface="+mj-lt"/>
              </a:rPr>
              <a:t>As of 00. Month 2019 I Version X.X</a:t>
            </a:r>
          </a:p>
        </p:txBody>
      </p:sp>
      <p:pic>
        <p:nvPicPr>
          <p:cNvPr id="53" name="Grafik 52">
            <a:extLst>
              <a:ext uri="{FF2B5EF4-FFF2-40B4-BE49-F238E27FC236}">
                <a16:creationId xmlns="" xmlns:a16="http://schemas.microsoft.com/office/drawing/2014/main" id="{82FD2C50-E308-46C3-AB19-E3646A9655C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064575" y="60579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274851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="" xmlns:a16="http://schemas.microsoft.com/office/drawing/2014/main" id="{E0108E20-3D50-48B2-A7D3-126EEB019C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384160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3248" name="think-cell Folie" r:id="rId5" imgW="360" imgH="360" progId="">
              <p:embed/>
            </p:oleObj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="" xmlns:a16="http://schemas.microsoft.com/office/drawing/2014/main" id="{6353EDE4-DA50-49EB-82CD-E7CD2214E3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GB" sz="48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="" xmlns:a16="http://schemas.microsoft.com/office/drawing/2014/main" id="{67382B6F-475E-456F-965A-43B280637598}"/>
              </a:ext>
            </a:extLst>
          </p:cNvPr>
          <p:cNvSpPr/>
          <p:nvPr userDrawn="1"/>
        </p:nvSpPr>
        <p:spPr bwMode="gray">
          <a:xfrm>
            <a:off x="11272956" y="6059224"/>
            <a:ext cx="849600" cy="7541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52000" indent="-252000" algn="l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800" noProof="0">
              <a:solidFill>
                <a:schemeClr val="tx1"/>
              </a:solidFill>
            </a:endParaRPr>
          </a:p>
        </p:txBody>
      </p:sp>
      <p:sp>
        <p:nvSpPr>
          <p:cNvPr id="22" name="Bildplatzhalter 21">
            <a:extLst>
              <a:ext uri="{FF2B5EF4-FFF2-40B4-BE49-F238E27FC236}">
                <a16:creationId xmlns="" xmlns:a16="http://schemas.microsoft.com/office/drawing/2014/main" id="{08F03F80-B609-4C56-87AF-011B0F06769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2" y="2"/>
            <a:ext cx="12191999" cy="6857999"/>
          </a:xfrm>
          <a:custGeom>
            <a:avLst/>
            <a:gdLst>
              <a:gd name="connsiteX0" fmla="*/ 479374 w 12191999"/>
              <a:gd name="connsiteY0" fmla="*/ 1485751 h 6857999"/>
              <a:gd name="connsiteX1" fmla="*/ 479374 w 12191999"/>
              <a:gd name="connsiteY1" fmla="*/ 1507351 h 6857999"/>
              <a:gd name="connsiteX2" fmla="*/ 479375 w 12191999"/>
              <a:gd name="connsiteY2" fmla="*/ 1507351 h 6857999"/>
              <a:gd name="connsiteX3" fmla="*/ 479375 w 12191999"/>
              <a:gd name="connsiteY3" fmla="*/ 6058430 h 6857999"/>
              <a:gd name="connsiteX4" fmla="*/ 479999 w 12191999"/>
              <a:gd name="connsiteY4" fmla="*/ 6058430 h 6857999"/>
              <a:gd name="connsiteX5" fmla="*/ 500975 w 12191999"/>
              <a:gd name="connsiteY5" fmla="*/ 6058430 h 6857999"/>
              <a:gd name="connsiteX6" fmla="*/ 11690399 w 12191999"/>
              <a:gd name="connsiteY6" fmla="*/ 6058430 h 6857999"/>
              <a:gd name="connsiteX7" fmla="*/ 11711999 w 12191999"/>
              <a:gd name="connsiteY7" fmla="*/ 6058430 h 6857999"/>
              <a:gd name="connsiteX8" fmla="*/ 11711999 w 12191999"/>
              <a:gd name="connsiteY8" fmla="*/ 6036830 h 6857999"/>
              <a:gd name="connsiteX9" fmla="*/ 11711999 w 12191999"/>
              <a:gd name="connsiteY9" fmla="*/ 1507353 h 6857999"/>
              <a:gd name="connsiteX10" fmla="*/ 11711999 w 12191999"/>
              <a:gd name="connsiteY10" fmla="*/ 1485752 h 6857999"/>
              <a:gd name="connsiteX11" fmla="*/ 11690399 w 12191999"/>
              <a:gd name="connsiteY11" fmla="*/ 1485752 h 6857999"/>
              <a:gd name="connsiteX12" fmla="*/ 11074799 w 12191999"/>
              <a:gd name="connsiteY12" fmla="*/ 1485752 h 6857999"/>
              <a:gd name="connsiteX13" fmla="*/ 11074799 w 12191999"/>
              <a:gd name="connsiteY13" fmla="*/ 1507353 h 6857999"/>
              <a:gd name="connsiteX14" fmla="*/ 11690399 w 12191999"/>
              <a:gd name="connsiteY14" fmla="*/ 1507353 h 6857999"/>
              <a:gd name="connsiteX15" fmla="*/ 11690399 w 12191999"/>
              <a:gd name="connsiteY15" fmla="*/ 6036830 h 6857999"/>
              <a:gd name="connsiteX16" fmla="*/ 500975 w 12191999"/>
              <a:gd name="connsiteY16" fmla="*/ 6036830 h 6857999"/>
              <a:gd name="connsiteX17" fmla="*/ 500975 w 12191999"/>
              <a:gd name="connsiteY17" fmla="*/ 1507352 h 6857999"/>
              <a:gd name="connsiteX18" fmla="*/ 8087375 w 12191999"/>
              <a:gd name="connsiteY18" fmla="*/ 1507352 h 6857999"/>
              <a:gd name="connsiteX19" fmla="*/ 8087375 w 12191999"/>
              <a:gd name="connsiteY19" fmla="*/ 1507351 h 6857999"/>
              <a:gd name="connsiteX20" fmla="*/ 8338174 w 12191999"/>
              <a:gd name="connsiteY20" fmla="*/ 1507351 h 6857999"/>
              <a:gd name="connsiteX21" fmla="*/ 8338174 w 12191999"/>
              <a:gd name="connsiteY21" fmla="*/ 1485751 h 6857999"/>
              <a:gd name="connsiteX22" fmla="*/ 0 w 12191999"/>
              <a:gd name="connsiteY22" fmla="*/ 0 h 6857999"/>
              <a:gd name="connsiteX23" fmla="*/ 12191999 w 12191999"/>
              <a:gd name="connsiteY23" fmla="*/ 0 h 6857999"/>
              <a:gd name="connsiteX24" fmla="*/ 12191999 w 12191999"/>
              <a:gd name="connsiteY24" fmla="*/ 6857999 h 6857999"/>
              <a:gd name="connsiteX25" fmla="*/ 0 w 12191999"/>
              <a:gd name="connsiteY2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2191999" h="6857999">
                <a:moveTo>
                  <a:pt x="479374" y="1485751"/>
                </a:moveTo>
                <a:lnTo>
                  <a:pt x="479374" y="1507351"/>
                </a:lnTo>
                <a:lnTo>
                  <a:pt x="479375" y="1507351"/>
                </a:lnTo>
                <a:lnTo>
                  <a:pt x="479375" y="6058430"/>
                </a:lnTo>
                <a:lnTo>
                  <a:pt x="479999" y="6058430"/>
                </a:lnTo>
                <a:lnTo>
                  <a:pt x="500975" y="6058430"/>
                </a:lnTo>
                <a:lnTo>
                  <a:pt x="11690399" y="6058430"/>
                </a:lnTo>
                <a:lnTo>
                  <a:pt x="11711999" y="6058430"/>
                </a:lnTo>
                <a:lnTo>
                  <a:pt x="11711999" y="6036830"/>
                </a:lnTo>
                <a:lnTo>
                  <a:pt x="11711999" y="1507353"/>
                </a:lnTo>
                <a:lnTo>
                  <a:pt x="11711999" y="1485752"/>
                </a:lnTo>
                <a:lnTo>
                  <a:pt x="11690399" y="1485752"/>
                </a:lnTo>
                <a:lnTo>
                  <a:pt x="11074799" y="1485752"/>
                </a:lnTo>
                <a:lnTo>
                  <a:pt x="11074799" y="1507353"/>
                </a:lnTo>
                <a:lnTo>
                  <a:pt x="11690399" y="1507353"/>
                </a:lnTo>
                <a:lnTo>
                  <a:pt x="11690399" y="6036830"/>
                </a:lnTo>
                <a:lnTo>
                  <a:pt x="500975" y="6036830"/>
                </a:lnTo>
                <a:lnTo>
                  <a:pt x="500975" y="1507352"/>
                </a:lnTo>
                <a:lnTo>
                  <a:pt x="8087375" y="1507352"/>
                </a:lnTo>
                <a:lnTo>
                  <a:pt x="8087375" y="1507351"/>
                </a:lnTo>
                <a:lnTo>
                  <a:pt x="8338174" y="1507351"/>
                </a:lnTo>
                <a:lnTo>
                  <a:pt x="8338174" y="1485751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wrap="square" lIns="720000" rIns="720000">
            <a:noAutofit/>
          </a:bodyPr>
          <a:lstStyle>
            <a:lvl1pPr marL="0" indent="0" algn="ctr" defTabSz="121914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lang="en-GB" sz="1800" b="0" kern="1200" noProof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To insert a dark background image: Please click on the image placeholder and then select an image by clicking on the “Insert“ tab and choosing the “Pictures“ command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78400" y="3189600"/>
            <a:ext cx="9142036" cy="738664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8399" y="5526000"/>
            <a:ext cx="6696000" cy="287867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Location | Month Day, Year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878400" y="2556000"/>
            <a:ext cx="9142036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="" xmlns:a16="http://schemas.microsoft.com/office/drawing/2014/main" id="{6D407CAE-53F4-49CB-AA46-8BBB0CB7ABC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375114" y="5537367"/>
            <a:ext cx="3011669" cy="261610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Data classification: Internal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="" xmlns:a16="http://schemas.microsoft.com/office/drawing/2014/main" id="{6C3D8613-1D59-4A90-B656-4844B355B9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5624" y="1951976"/>
            <a:ext cx="2628570" cy="380068"/>
          </a:xfrm>
          <a:blipFill>
            <a:blip r:embed="rId6"/>
            <a:srcRect/>
            <a:stretch>
              <a:fillRect t="10193" b="10193"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0" name="Textplatzhalter 57">
            <a:extLst>
              <a:ext uri="{FF2B5EF4-FFF2-40B4-BE49-F238E27FC236}">
                <a16:creationId xmlns="" xmlns:a16="http://schemas.microsoft.com/office/drawing/2014/main" id="{D45AF455-BC6D-4AAF-88AB-34ABE4CE24DA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8575675" y="1092891"/>
            <a:ext cx="2257200" cy="766724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12134107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24">
            <a:extLst>
              <a:ext uri="{FF2B5EF4-FFF2-40B4-BE49-F238E27FC236}">
                <a16:creationId xmlns="" xmlns:a16="http://schemas.microsoft.com/office/drawing/2014/main" id="{A509F190-156E-45D3-B9DB-E70B9EAADE0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1" y="1"/>
            <a:ext cx="12191999" cy="6857852"/>
          </a:xfrm>
          <a:custGeom>
            <a:avLst/>
            <a:gdLst>
              <a:gd name="connsiteX0" fmla="*/ 479375 w 12191999"/>
              <a:gd name="connsiteY0" fmla="*/ 1485752 h 6857852"/>
              <a:gd name="connsiteX1" fmla="*/ 479375 w 12191999"/>
              <a:gd name="connsiteY1" fmla="*/ 1507352 h 6857852"/>
              <a:gd name="connsiteX2" fmla="*/ 479375 w 12191999"/>
              <a:gd name="connsiteY2" fmla="*/ 6058430 h 6857852"/>
              <a:gd name="connsiteX3" fmla="*/ 479999 w 12191999"/>
              <a:gd name="connsiteY3" fmla="*/ 6058430 h 6857852"/>
              <a:gd name="connsiteX4" fmla="*/ 500975 w 12191999"/>
              <a:gd name="connsiteY4" fmla="*/ 6058430 h 6857852"/>
              <a:gd name="connsiteX5" fmla="*/ 11690399 w 12191999"/>
              <a:gd name="connsiteY5" fmla="*/ 6058430 h 6857852"/>
              <a:gd name="connsiteX6" fmla="*/ 11711999 w 12191999"/>
              <a:gd name="connsiteY6" fmla="*/ 6058430 h 6857852"/>
              <a:gd name="connsiteX7" fmla="*/ 11711999 w 12191999"/>
              <a:gd name="connsiteY7" fmla="*/ 6036830 h 6857852"/>
              <a:gd name="connsiteX8" fmla="*/ 11711999 w 12191999"/>
              <a:gd name="connsiteY8" fmla="*/ 1507353 h 6857852"/>
              <a:gd name="connsiteX9" fmla="*/ 11711999 w 12191999"/>
              <a:gd name="connsiteY9" fmla="*/ 1485753 h 6857852"/>
              <a:gd name="connsiteX10" fmla="*/ 11711999 w 12191999"/>
              <a:gd name="connsiteY10" fmla="*/ 1485752 h 6857852"/>
              <a:gd name="connsiteX11" fmla="*/ 11690399 w 12191999"/>
              <a:gd name="connsiteY11" fmla="*/ 1485752 h 6857852"/>
              <a:gd name="connsiteX12" fmla="*/ 11690399 w 12191999"/>
              <a:gd name="connsiteY12" fmla="*/ 1485753 h 6857852"/>
              <a:gd name="connsiteX13" fmla="*/ 11074799 w 12191999"/>
              <a:gd name="connsiteY13" fmla="*/ 1485753 h 6857852"/>
              <a:gd name="connsiteX14" fmla="*/ 11074799 w 12191999"/>
              <a:gd name="connsiteY14" fmla="*/ 1507353 h 6857852"/>
              <a:gd name="connsiteX15" fmla="*/ 11690399 w 12191999"/>
              <a:gd name="connsiteY15" fmla="*/ 1507353 h 6857852"/>
              <a:gd name="connsiteX16" fmla="*/ 11690399 w 12191999"/>
              <a:gd name="connsiteY16" fmla="*/ 6036830 h 6857852"/>
              <a:gd name="connsiteX17" fmla="*/ 500975 w 12191999"/>
              <a:gd name="connsiteY17" fmla="*/ 6036830 h 6857852"/>
              <a:gd name="connsiteX18" fmla="*/ 500975 w 12191999"/>
              <a:gd name="connsiteY18" fmla="*/ 1507353 h 6857852"/>
              <a:gd name="connsiteX19" fmla="*/ 8087376 w 12191999"/>
              <a:gd name="connsiteY19" fmla="*/ 1507353 h 6857852"/>
              <a:gd name="connsiteX20" fmla="*/ 8087376 w 12191999"/>
              <a:gd name="connsiteY20" fmla="*/ 1507352 h 6857852"/>
              <a:gd name="connsiteX21" fmla="*/ 8338175 w 12191999"/>
              <a:gd name="connsiteY21" fmla="*/ 1507352 h 6857852"/>
              <a:gd name="connsiteX22" fmla="*/ 8338175 w 12191999"/>
              <a:gd name="connsiteY22" fmla="*/ 1485752 h 6857852"/>
              <a:gd name="connsiteX23" fmla="*/ 500975 w 12191999"/>
              <a:gd name="connsiteY23" fmla="*/ 1485752 h 6857852"/>
              <a:gd name="connsiteX24" fmla="*/ 0 w 12191999"/>
              <a:gd name="connsiteY24" fmla="*/ 0 h 6857852"/>
              <a:gd name="connsiteX25" fmla="*/ 12191999 w 12191999"/>
              <a:gd name="connsiteY25" fmla="*/ 0 h 6857852"/>
              <a:gd name="connsiteX26" fmla="*/ 12191999 w 12191999"/>
              <a:gd name="connsiteY26" fmla="*/ 6857852 h 6857852"/>
              <a:gd name="connsiteX27" fmla="*/ 0 w 12191999"/>
              <a:gd name="connsiteY27" fmla="*/ 6857852 h 6857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1999" h="6857852">
                <a:moveTo>
                  <a:pt x="479375" y="1485752"/>
                </a:moveTo>
                <a:lnTo>
                  <a:pt x="479375" y="1507352"/>
                </a:lnTo>
                <a:lnTo>
                  <a:pt x="479375" y="6058430"/>
                </a:lnTo>
                <a:lnTo>
                  <a:pt x="479999" y="6058430"/>
                </a:lnTo>
                <a:lnTo>
                  <a:pt x="500975" y="6058430"/>
                </a:lnTo>
                <a:lnTo>
                  <a:pt x="11690399" y="6058430"/>
                </a:lnTo>
                <a:lnTo>
                  <a:pt x="11711999" y="6058430"/>
                </a:lnTo>
                <a:lnTo>
                  <a:pt x="11711999" y="6036830"/>
                </a:lnTo>
                <a:lnTo>
                  <a:pt x="11711999" y="1507353"/>
                </a:lnTo>
                <a:lnTo>
                  <a:pt x="11711999" y="1485753"/>
                </a:lnTo>
                <a:lnTo>
                  <a:pt x="11711999" y="1485752"/>
                </a:lnTo>
                <a:lnTo>
                  <a:pt x="11690399" y="1485752"/>
                </a:lnTo>
                <a:lnTo>
                  <a:pt x="11690399" y="1485753"/>
                </a:lnTo>
                <a:lnTo>
                  <a:pt x="11074799" y="1485753"/>
                </a:lnTo>
                <a:lnTo>
                  <a:pt x="11074799" y="1507353"/>
                </a:lnTo>
                <a:lnTo>
                  <a:pt x="11690399" y="1507353"/>
                </a:lnTo>
                <a:lnTo>
                  <a:pt x="11690399" y="6036830"/>
                </a:lnTo>
                <a:lnTo>
                  <a:pt x="500975" y="6036830"/>
                </a:lnTo>
                <a:lnTo>
                  <a:pt x="500975" y="1507353"/>
                </a:lnTo>
                <a:lnTo>
                  <a:pt x="8087376" y="1507353"/>
                </a:lnTo>
                <a:lnTo>
                  <a:pt x="8087376" y="1507352"/>
                </a:lnTo>
                <a:lnTo>
                  <a:pt x="8338175" y="1507352"/>
                </a:lnTo>
                <a:lnTo>
                  <a:pt x="8338175" y="1485752"/>
                </a:lnTo>
                <a:lnTo>
                  <a:pt x="500975" y="1485752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852"/>
                </a:lnTo>
                <a:lnTo>
                  <a:pt x="0" y="6857852"/>
                </a:lnTo>
                <a:close/>
              </a:path>
            </a:pathLst>
          </a:custGeo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wrap="square" lIns="720000" rIns="720000">
            <a:noAutofit/>
          </a:bodyPr>
          <a:lstStyle>
            <a:lvl1pPr algn="ctr"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 noProof="0"/>
              <a:t>To insert a light background image: Please click on the image placeholder and then select an image by clicking on the “Insert“ tab and choosing the “Pictures“ command.</a:t>
            </a:r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="" xmlns:a16="http://schemas.microsoft.com/office/drawing/2014/main" id="{E2F48416-3769-4EAF-AC0C-818B51E4E5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334904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32" name="think-cell Folie" r:id="rId5" imgW="360" imgH="360" progId="">
              <p:embed/>
            </p:oleObj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="" xmlns:a16="http://schemas.microsoft.com/office/drawing/2014/main" id="{FD04C1F2-6677-45AA-938B-D2CF4E26B9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GB" sz="48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78400" y="3189600"/>
            <a:ext cx="9142036" cy="738664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>
                <a:solidFill>
                  <a:schemeClr val="tx2"/>
                </a:solidFill>
                <a:latin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78400" y="5526000"/>
            <a:ext cx="6696000" cy="287867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Location | Month Day, Year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878400" y="2556000"/>
            <a:ext cx="9142036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="" xmlns:a16="http://schemas.microsoft.com/office/drawing/2014/main" id="{10BF1FDD-9643-441E-979A-D60F4FB088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375114" y="5537367"/>
            <a:ext cx="3011669" cy="261610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7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Data classification: Internal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="" xmlns:a16="http://schemas.microsoft.com/office/drawing/2014/main" id="{059A5D8A-911B-4080-B933-657D0871CF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5624" y="1951976"/>
            <a:ext cx="2628570" cy="380068"/>
          </a:xfrm>
          <a:blipFill>
            <a:blip r:embed="rId6"/>
            <a:srcRect/>
            <a:stretch>
              <a:fillRect t="10193" b="10193"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3" name="Textplatzhalter 57">
            <a:extLst>
              <a:ext uri="{FF2B5EF4-FFF2-40B4-BE49-F238E27FC236}">
                <a16:creationId xmlns="" xmlns:a16="http://schemas.microsoft.com/office/drawing/2014/main" id="{18DE384F-5386-4951-9260-FD14ACEDCD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675" y="1092891"/>
            <a:ext cx="2257200" cy="7668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6709642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="" xmlns:a16="http://schemas.microsoft.com/office/drawing/2014/main" id="{13352F42-8138-4C9A-982D-B566B6143D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360190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227" name="think-cell Folie" r:id="rId4" imgW="360" imgH="360" progId="">
              <p:embed/>
            </p:oleObj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="" xmlns:a16="http://schemas.microsoft.com/office/drawing/2014/main" id="{C94C3513-E0BF-4E40-B55D-750F56BD358D}"/>
              </a:ext>
            </a:extLst>
          </p:cNvPr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>
              <a:extLst>
                <a:ext uri="{FF2B5EF4-FFF2-40B4-BE49-F238E27FC236}">
                  <a16:creationId xmlns="" xmlns:a16="http://schemas.microsoft.com/office/drawing/2014/main" id="{D6D93960-AB18-4E88-9BF3-D43049352919}"/>
                </a:ext>
              </a:extLst>
            </p:cNvPr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7">
              <a:extLst>
                <a:ext uri="{FF2B5EF4-FFF2-40B4-BE49-F238E27FC236}">
                  <a16:creationId xmlns="" xmlns:a16="http://schemas.microsoft.com/office/drawing/2014/main" id="{FCA382C2-9265-4B84-9369-265CE6C6B303}"/>
                </a:ext>
              </a:extLst>
            </p:cNvPr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8">
              <a:extLst>
                <a:ext uri="{FF2B5EF4-FFF2-40B4-BE49-F238E27FC236}">
                  <a16:creationId xmlns="" xmlns:a16="http://schemas.microsoft.com/office/drawing/2014/main" id="{E740232D-0571-4A4A-B683-66BB82153CA7}"/>
                </a:ext>
              </a:extLst>
            </p:cNvPr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9">
              <a:extLst>
                <a:ext uri="{FF2B5EF4-FFF2-40B4-BE49-F238E27FC236}">
                  <a16:creationId xmlns="" xmlns:a16="http://schemas.microsoft.com/office/drawing/2014/main" id="{F78359BB-1D17-4D59-8BC7-9E8894170944}"/>
                </a:ext>
              </a:extLst>
            </p:cNvPr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0">
              <a:extLst>
                <a:ext uri="{FF2B5EF4-FFF2-40B4-BE49-F238E27FC236}">
                  <a16:creationId xmlns="" xmlns:a16="http://schemas.microsoft.com/office/drawing/2014/main" id="{F4110EDE-09FF-449E-B60F-A6439AAF6920}"/>
                </a:ext>
              </a:extLst>
            </p:cNvPr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">
              <a:extLst>
                <a:ext uri="{FF2B5EF4-FFF2-40B4-BE49-F238E27FC236}">
                  <a16:creationId xmlns="" xmlns:a16="http://schemas.microsoft.com/office/drawing/2014/main" id="{A3A3B7D4-44AA-497B-9334-7C7E5E88C625}"/>
                </a:ext>
              </a:extLst>
            </p:cNvPr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2">
              <a:extLst>
                <a:ext uri="{FF2B5EF4-FFF2-40B4-BE49-F238E27FC236}">
                  <a16:creationId xmlns="" xmlns:a16="http://schemas.microsoft.com/office/drawing/2014/main" id="{4981A131-371C-4CB9-B8F2-1AF2A3CFCA35}"/>
                </a:ext>
              </a:extLst>
            </p:cNvPr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3">
              <a:extLst>
                <a:ext uri="{FF2B5EF4-FFF2-40B4-BE49-F238E27FC236}">
                  <a16:creationId xmlns="" xmlns:a16="http://schemas.microsoft.com/office/drawing/2014/main" id="{50741E15-E504-4C47-AFD8-9649640132DB}"/>
                </a:ext>
              </a:extLst>
            </p:cNvPr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>
              <a:extLst>
                <a:ext uri="{FF2B5EF4-FFF2-40B4-BE49-F238E27FC236}">
                  <a16:creationId xmlns="" xmlns:a16="http://schemas.microsoft.com/office/drawing/2014/main" id="{9D92C037-550C-43B3-B2D5-85688AD484A3}"/>
                </a:ext>
              </a:extLst>
            </p:cNvPr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>
              <a:extLst>
                <a:ext uri="{FF2B5EF4-FFF2-40B4-BE49-F238E27FC236}">
                  <a16:creationId xmlns="" xmlns:a16="http://schemas.microsoft.com/office/drawing/2014/main" id="{13865562-809D-47E2-A66F-2A99A83B9585}"/>
                </a:ext>
              </a:extLst>
            </p:cNvPr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8">
              <a:extLst>
                <a:ext uri="{FF2B5EF4-FFF2-40B4-BE49-F238E27FC236}">
                  <a16:creationId xmlns="" xmlns:a16="http://schemas.microsoft.com/office/drawing/2014/main" id="{DECD4A31-3E48-4F2A-851C-281FF4619AB3}"/>
                </a:ext>
              </a:extLst>
            </p:cNvPr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9">
              <a:extLst>
                <a:ext uri="{FF2B5EF4-FFF2-40B4-BE49-F238E27FC236}">
                  <a16:creationId xmlns="" xmlns:a16="http://schemas.microsoft.com/office/drawing/2014/main" id="{E32D9135-9F10-45DB-9D02-C91DB225FBD8}"/>
                </a:ext>
              </a:extLst>
            </p:cNvPr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ildplatzhalter 4">
            <a:extLst>
              <a:ext uri="{FF2B5EF4-FFF2-40B4-BE49-F238E27FC236}">
                <a16:creationId xmlns="" xmlns:a16="http://schemas.microsoft.com/office/drawing/2014/main" id="{ED332341-79D1-4311-BC9B-4C3E106038B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lIns="720000" rIns="720000"/>
          <a:lstStyle>
            <a:lvl1pPr algn="ctr">
              <a:spcBef>
                <a:spcPts val="0"/>
              </a:spcBef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To insert a dark background image: Please click on the image placeholder and then select an image by clicking on the “Insert“ tab and choosing the “Pictures“ command.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227343"/>
            <a:ext cx="11233150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2834901"/>
            <a:ext cx="11233150" cy="738664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Sub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3674F971-C7A1-477D-8AE0-F62741280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="" xmlns:a16="http://schemas.microsoft.com/office/drawing/2014/main" id="{C2EC2808-3D34-4DD5-BCA0-8DE0E99DD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2" name="Textplatzhalter 59">
            <a:extLst>
              <a:ext uri="{FF2B5EF4-FFF2-40B4-BE49-F238E27FC236}">
                <a16:creationId xmlns="" xmlns:a16="http://schemas.microsoft.com/office/drawing/2014/main" id="{6A792454-F67C-4229-AA10-1641E81EFB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64575" y="6057900"/>
            <a:ext cx="648000" cy="64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656397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="" xmlns:a16="http://schemas.microsoft.com/office/drawing/2014/main" id="{B15E4F81-BF99-43CC-A760-0249283C31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364262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251" name="think-cell Folie" r:id="rId4" imgW="360" imgH="360" progId="">
              <p:embed/>
            </p:oleObj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="" xmlns:a16="http://schemas.microsoft.com/office/drawing/2014/main" id="{B98716A3-4317-49A4-A516-0CAB7EE9EADA}"/>
              </a:ext>
            </a:extLst>
          </p:cNvPr>
          <p:cNvGrpSpPr/>
          <p:nvPr userDrawn="1"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2" name="Gerade Verbindung 6">
              <a:extLst>
                <a:ext uri="{FF2B5EF4-FFF2-40B4-BE49-F238E27FC236}">
                  <a16:creationId xmlns="" xmlns:a16="http://schemas.microsoft.com/office/drawing/2014/main" id="{968259DA-C4F4-42AE-AA1E-4FCA4BFD2F74}"/>
                </a:ext>
              </a:extLst>
            </p:cNvPr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7">
              <a:extLst>
                <a:ext uri="{FF2B5EF4-FFF2-40B4-BE49-F238E27FC236}">
                  <a16:creationId xmlns="" xmlns:a16="http://schemas.microsoft.com/office/drawing/2014/main" id="{D584E2B3-1B07-400A-834E-C84919DD4AED}"/>
                </a:ext>
              </a:extLst>
            </p:cNvPr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>
              <a:extLst>
                <a:ext uri="{FF2B5EF4-FFF2-40B4-BE49-F238E27FC236}">
                  <a16:creationId xmlns="" xmlns:a16="http://schemas.microsoft.com/office/drawing/2014/main" id="{8D147300-2B5E-4928-945F-AF9187208EE7}"/>
                </a:ext>
              </a:extLst>
            </p:cNvPr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>
              <a:extLst>
                <a:ext uri="{FF2B5EF4-FFF2-40B4-BE49-F238E27FC236}">
                  <a16:creationId xmlns="" xmlns:a16="http://schemas.microsoft.com/office/drawing/2014/main" id="{00096ED0-8C02-4E4F-A9D5-896D2531765F}"/>
                </a:ext>
              </a:extLst>
            </p:cNvPr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>
              <a:extLst>
                <a:ext uri="{FF2B5EF4-FFF2-40B4-BE49-F238E27FC236}">
                  <a16:creationId xmlns="" xmlns:a16="http://schemas.microsoft.com/office/drawing/2014/main" id="{0343AD15-AA2D-4FA3-A7A4-0F3B9B2D46E0}"/>
                </a:ext>
              </a:extLst>
            </p:cNvPr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">
              <a:extLst>
                <a:ext uri="{FF2B5EF4-FFF2-40B4-BE49-F238E27FC236}">
                  <a16:creationId xmlns="" xmlns:a16="http://schemas.microsoft.com/office/drawing/2014/main" id="{3BC863F9-C281-4C65-995F-7DA22245A8CE}"/>
                </a:ext>
              </a:extLst>
            </p:cNvPr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>
              <a:extLst>
                <a:ext uri="{FF2B5EF4-FFF2-40B4-BE49-F238E27FC236}">
                  <a16:creationId xmlns="" xmlns:a16="http://schemas.microsoft.com/office/drawing/2014/main" id="{395D0265-0A40-4776-A0A6-9945A258C019}"/>
                </a:ext>
              </a:extLst>
            </p:cNvPr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>
              <a:extLst>
                <a:ext uri="{FF2B5EF4-FFF2-40B4-BE49-F238E27FC236}">
                  <a16:creationId xmlns="" xmlns:a16="http://schemas.microsoft.com/office/drawing/2014/main" id="{F51B9021-1044-4419-9F74-E7069B9197BE}"/>
                </a:ext>
              </a:extLst>
            </p:cNvPr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8">
              <a:extLst>
                <a:ext uri="{FF2B5EF4-FFF2-40B4-BE49-F238E27FC236}">
                  <a16:creationId xmlns="" xmlns:a16="http://schemas.microsoft.com/office/drawing/2014/main" id="{834A74C2-6628-40E1-9DA8-3F00E08C9CAA}"/>
                </a:ext>
              </a:extLst>
            </p:cNvPr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9">
              <a:extLst>
                <a:ext uri="{FF2B5EF4-FFF2-40B4-BE49-F238E27FC236}">
                  <a16:creationId xmlns="" xmlns:a16="http://schemas.microsoft.com/office/drawing/2014/main" id="{7AE4E1E1-93D4-43A4-AB5E-7DDBFF946DF7}"/>
                </a:ext>
              </a:extLst>
            </p:cNvPr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8">
              <a:extLst>
                <a:ext uri="{FF2B5EF4-FFF2-40B4-BE49-F238E27FC236}">
                  <a16:creationId xmlns="" xmlns:a16="http://schemas.microsoft.com/office/drawing/2014/main" id="{4ABF7A17-2A90-47F9-9E6F-7C2A1133BF82}"/>
                </a:ext>
              </a:extLst>
            </p:cNvPr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9">
              <a:extLst>
                <a:ext uri="{FF2B5EF4-FFF2-40B4-BE49-F238E27FC236}">
                  <a16:creationId xmlns="" xmlns:a16="http://schemas.microsoft.com/office/drawing/2014/main" id="{6153BE47-17AD-4A9F-AF96-DD1D516D4F70}"/>
                </a:ext>
              </a:extLst>
            </p:cNvPr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Bildplatzhalter 4">
            <a:extLst>
              <a:ext uri="{FF2B5EF4-FFF2-40B4-BE49-F238E27FC236}">
                <a16:creationId xmlns="" xmlns:a16="http://schemas.microsoft.com/office/drawing/2014/main" id="{1D05A838-DB24-4E30-9B4B-D34C31F0CA2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0"/>
          </a:xfrm>
          <a:pattFill prst="wdUpDiag">
            <a:fgClr>
              <a:schemeClr val="accent6"/>
            </a:fgClr>
            <a:bgClr>
              <a:schemeClr val="accent6">
                <a:lumMod val="20000"/>
                <a:lumOff val="80000"/>
              </a:schemeClr>
            </a:bgClr>
          </a:pattFill>
        </p:spPr>
        <p:txBody>
          <a:bodyPr lIns="720000" rIns="720000"/>
          <a:lstStyle>
            <a:lvl1pPr algn="ctr">
              <a:spcBef>
                <a:spcPts val="0"/>
              </a:spcBef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To insert a light background image: Please click on the image placeholder and then select an image by clicking on the “Insert“ tab and choosing the “Pictures“ command.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9425" y="2227343"/>
            <a:ext cx="11233150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425" y="2834901"/>
            <a:ext cx="11233150" cy="738664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>
                <a:solidFill>
                  <a:schemeClr val="tx2"/>
                </a:solidFill>
                <a:latin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Sub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3674F971-C7A1-477D-8AE0-F62741280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="" xmlns:a16="http://schemas.microsoft.com/office/drawing/2014/main" id="{C2EC2808-3D34-4DD5-BCA0-8DE0E99DD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8" name="Textplatzhalter 59">
            <a:extLst>
              <a:ext uri="{FF2B5EF4-FFF2-40B4-BE49-F238E27FC236}">
                <a16:creationId xmlns="" xmlns:a16="http://schemas.microsoft.com/office/drawing/2014/main" id="{30EC813C-D305-4B90-B3D2-E1F662509D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62670" y="6057900"/>
            <a:ext cx="648000" cy="648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10846715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="" xmlns:a16="http://schemas.microsoft.com/office/drawing/2014/main" id="{68DBB61B-A8E6-4F9E-B132-8DD282EBE4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060324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460" name="think-cell Folie" r:id="rId4" imgW="360" imgH="360" progId="">
              <p:embed/>
            </p:oleObj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="" xmlns:a16="http://schemas.microsoft.com/office/drawing/2014/main" id="{B3D3C332-3566-4AF8-95A0-87B10D9CF6CC}"/>
              </a:ext>
            </a:extLst>
          </p:cNvPr>
          <p:cNvGrpSpPr/>
          <p:nvPr userDrawn="1"/>
        </p:nvGrpSpPr>
        <p:grpSpPr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>
              <a:extLst>
                <a:ext uri="{FF2B5EF4-FFF2-40B4-BE49-F238E27FC236}">
                  <a16:creationId xmlns="" xmlns:a16="http://schemas.microsoft.com/office/drawing/2014/main" id="{9072E5FD-0A29-42D6-A601-43724E0F3B40}"/>
                </a:ext>
              </a:extLst>
            </p:cNvPr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">
              <a:extLst>
                <a:ext uri="{FF2B5EF4-FFF2-40B4-BE49-F238E27FC236}">
                  <a16:creationId xmlns="" xmlns:a16="http://schemas.microsoft.com/office/drawing/2014/main" id="{8AFA7438-C6E2-4019-9E05-F5BD11C9744F}"/>
                </a:ext>
              </a:extLst>
            </p:cNvPr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>
              <a:extLst>
                <a:ext uri="{FF2B5EF4-FFF2-40B4-BE49-F238E27FC236}">
                  <a16:creationId xmlns="" xmlns:a16="http://schemas.microsoft.com/office/drawing/2014/main" id="{EB82C1D4-A9FF-4DF6-B6C1-A5FF499BB76C}"/>
                </a:ext>
              </a:extLst>
            </p:cNvPr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>
              <a:extLst>
                <a:ext uri="{FF2B5EF4-FFF2-40B4-BE49-F238E27FC236}">
                  <a16:creationId xmlns="" xmlns:a16="http://schemas.microsoft.com/office/drawing/2014/main" id="{739C2C77-99D5-4E4D-AAF2-11C29C46D9DD}"/>
                </a:ext>
              </a:extLst>
            </p:cNvPr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>
              <a:extLst>
                <a:ext uri="{FF2B5EF4-FFF2-40B4-BE49-F238E27FC236}">
                  <a16:creationId xmlns="" xmlns:a16="http://schemas.microsoft.com/office/drawing/2014/main" id="{B15BA0E2-AEE8-4F85-A4F7-6B6504DA5487}"/>
                </a:ext>
              </a:extLst>
            </p:cNvPr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">
              <a:extLst>
                <a:ext uri="{FF2B5EF4-FFF2-40B4-BE49-F238E27FC236}">
                  <a16:creationId xmlns="" xmlns:a16="http://schemas.microsoft.com/office/drawing/2014/main" id="{CD316D5F-DE29-4426-805F-85CE4A3CD4D9}"/>
                </a:ext>
              </a:extLst>
            </p:cNvPr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>
              <a:extLst>
                <a:ext uri="{FF2B5EF4-FFF2-40B4-BE49-F238E27FC236}">
                  <a16:creationId xmlns="" xmlns:a16="http://schemas.microsoft.com/office/drawing/2014/main" id="{725E3CCB-1EFB-4949-9256-2BF995240F8B}"/>
                </a:ext>
              </a:extLst>
            </p:cNvPr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>
              <a:extLst>
                <a:ext uri="{FF2B5EF4-FFF2-40B4-BE49-F238E27FC236}">
                  <a16:creationId xmlns="" xmlns:a16="http://schemas.microsoft.com/office/drawing/2014/main" id="{822FC784-1CDB-41A3-8F2C-FD41C979073C}"/>
                </a:ext>
              </a:extLst>
            </p:cNvPr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>
              <a:extLst>
                <a:ext uri="{FF2B5EF4-FFF2-40B4-BE49-F238E27FC236}">
                  <a16:creationId xmlns="" xmlns:a16="http://schemas.microsoft.com/office/drawing/2014/main" id="{9BCDF87C-94DB-4B73-BC59-6C97C8315878}"/>
                </a:ext>
              </a:extLst>
            </p:cNvPr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>
              <a:extLst>
                <a:ext uri="{FF2B5EF4-FFF2-40B4-BE49-F238E27FC236}">
                  <a16:creationId xmlns="" xmlns:a16="http://schemas.microsoft.com/office/drawing/2014/main" id="{E1E36290-5C89-4002-86C9-CB9239E0312A}"/>
                </a:ext>
              </a:extLst>
            </p:cNvPr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8">
              <a:extLst>
                <a:ext uri="{FF2B5EF4-FFF2-40B4-BE49-F238E27FC236}">
                  <a16:creationId xmlns="" xmlns:a16="http://schemas.microsoft.com/office/drawing/2014/main" id="{789674D5-5F1B-4CC2-B6EC-76B6BAEAB437}"/>
                </a:ext>
              </a:extLst>
            </p:cNvPr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9">
              <a:extLst>
                <a:ext uri="{FF2B5EF4-FFF2-40B4-BE49-F238E27FC236}">
                  <a16:creationId xmlns="" xmlns:a16="http://schemas.microsoft.com/office/drawing/2014/main" id="{2B134A6E-2A49-4836-B7E8-ECDEDC8EF244}"/>
                </a:ext>
              </a:extLst>
            </p:cNvPr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478801" y="2227343"/>
            <a:ext cx="11233774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1" y="2834901"/>
            <a:ext cx="11233774" cy="738664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Sub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931DB818-884B-46E0-91DE-94DE3BEC4E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="" xmlns:a16="http://schemas.microsoft.com/office/drawing/2014/main" id="{99E0CF16-41E8-42B8-87C5-1227165EDB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61" name="Grafik 60">
            <a:extLst>
              <a:ext uri="{FF2B5EF4-FFF2-40B4-BE49-F238E27FC236}">
                <a16:creationId xmlns="" xmlns:a16="http://schemas.microsoft.com/office/drawing/2014/main" id="{A614A2E7-C72A-47A3-A02D-96C5E445B6F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064575" y="60579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5760941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="" xmlns:a16="http://schemas.microsoft.com/office/drawing/2014/main" id="{FF089649-AAF3-4798-ADF3-6C3E2E0AC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90920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6484" name="think-cell Folie" r:id="rId4" imgW="360" imgH="360" progId="">
              <p:embed/>
            </p:oleObj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="" xmlns:a16="http://schemas.microsoft.com/office/drawing/2014/main" id="{31C9870B-D3ED-4F26-BDDA-8441ED50FB99}"/>
              </a:ext>
            </a:extLst>
          </p:cNvPr>
          <p:cNvGrpSpPr/>
          <p:nvPr userDrawn="1"/>
        </p:nvGrpSpPr>
        <p:grpSpPr bwMode="black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0" name="Gerade Verbindung 6">
              <a:extLst>
                <a:ext uri="{FF2B5EF4-FFF2-40B4-BE49-F238E27FC236}">
                  <a16:creationId xmlns="" xmlns:a16="http://schemas.microsoft.com/office/drawing/2014/main" id="{9072E5FD-0A29-42D6-A601-43724E0F3B40}"/>
                </a:ext>
              </a:extLst>
            </p:cNvPr>
            <p:cNvCxnSpPr/>
            <p:nvPr userDrawn="1"/>
          </p:nvCxnSpPr>
          <p:spPr bwMode="black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7">
              <a:extLst>
                <a:ext uri="{FF2B5EF4-FFF2-40B4-BE49-F238E27FC236}">
                  <a16:creationId xmlns="" xmlns:a16="http://schemas.microsoft.com/office/drawing/2014/main" id="{8AFA7438-C6E2-4019-9E05-F5BD11C9744F}"/>
                </a:ext>
              </a:extLst>
            </p:cNvPr>
            <p:cNvCxnSpPr/>
            <p:nvPr userDrawn="1"/>
          </p:nvCxnSpPr>
          <p:spPr bwMode="black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">
              <a:extLst>
                <a:ext uri="{FF2B5EF4-FFF2-40B4-BE49-F238E27FC236}">
                  <a16:creationId xmlns="" xmlns:a16="http://schemas.microsoft.com/office/drawing/2014/main" id="{EB82C1D4-A9FF-4DF6-B6C1-A5FF499BB76C}"/>
                </a:ext>
              </a:extLst>
            </p:cNvPr>
            <p:cNvCxnSpPr/>
            <p:nvPr userDrawn="1"/>
          </p:nvCxnSpPr>
          <p:spPr bwMode="black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9">
              <a:extLst>
                <a:ext uri="{FF2B5EF4-FFF2-40B4-BE49-F238E27FC236}">
                  <a16:creationId xmlns="" xmlns:a16="http://schemas.microsoft.com/office/drawing/2014/main" id="{739C2C77-99D5-4E4D-AAF2-11C29C46D9DD}"/>
                </a:ext>
              </a:extLst>
            </p:cNvPr>
            <p:cNvCxnSpPr/>
            <p:nvPr userDrawn="1"/>
          </p:nvCxnSpPr>
          <p:spPr bwMode="black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0">
              <a:extLst>
                <a:ext uri="{FF2B5EF4-FFF2-40B4-BE49-F238E27FC236}">
                  <a16:creationId xmlns="" xmlns:a16="http://schemas.microsoft.com/office/drawing/2014/main" id="{B15BA0E2-AEE8-4F85-A4F7-6B6504DA5487}"/>
                </a:ext>
              </a:extLst>
            </p:cNvPr>
            <p:cNvCxnSpPr/>
            <p:nvPr userDrawn="1"/>
          </p:nvCxnSpPr>
          <p:spPr bwMode="black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2">
              <a:extLst>
                <a:ext uri="{FF2B5EF4-FFF2-40B4-BE49-F238E27FC236}">
                  <a16:creationId xmlns="" xmlns:a16="http://schemas.microsoft.com/office/drawing/2014/main" id="{725E3CCB-1EFB-4949-9256-2BF995240F8B}"/>
                </a:ext>
              </a:extLst>
            </p:cNvPr>
            <p:cNvCxnSpPr/>
            <p:nvPr userDrawn="1"/>
          </p:nvCxnSpPr>
          <p:spPr bwMode="black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">
              <a:extLst>
                <a:ext uri="{FF2B5EF4-FFF2-40B4-BE49-F238E27FC236}">
                  <a16:creationId xmlns="" xmlns:a16="http://schemas.microsoft.com/office/drawing/2014/main" id="{822FC784-1CDB-41A3-8F2C-FD41C979073C}"/>
                </a:ext>
              </a:extLst>
            </p:cNvPr>
            <p:cNvCxnSpPr/>
            <p:nvPr userDrawn="1"/>
          </p:nvCxnSpPr>
          <p:spPr bwMode="black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>
              <a:extLst>
                <a:ext uri="{FF2B5EF4-FFF2-40B4-BE49-F238E27FC236}">
                  <a16:creationId xmlns="" xmlns:a16="http://schemas.microsoft.com/office/drawing/2014/main" id="{9BCDF87C-94DB-4B73-BC59-6C97C8315878}"/>
                </a:ext>
              </a:extLst>
            </p:cNvPr>
            <p:cNvCxnSpPr/>
            <p:nvPr userDrawn="1"/>
          </p:nvCxnSpPr>
          <p:spPr bwMode="black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>
              <a:extLst>
                <a:ext uri="{FF2B5EF4-FFF2-40B4-BE49-F238E27FC236}">
                  <a16:creationId xmlns="" xmlns:a16="http://schemas.microsoft.com/office/drawing/2014/main" id="{E1E36290-5C89-4002-86C9-CB9239E0312A}"/>
                </a:ext>
              </a:extLst>
            </p:cNvPr>
            <p:cNvCxnSpPr/>
            <p:nvPr userDrawn="1"/>
          </p:nvCxnSpPr>
          <p:spPr bwMode="black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8">
              <a:extLst>
                <a:ext uri="{FF2B5EF4-FFF2-40B4-BE49-F238E27FC236}">
                  <a16:creationId xmlns="" xmlns:a16="http://schemas.microsoft.com/office/drawing/2014/main" id="{789674D5-5F1B-4CC2-B6EC-76B6BAEAB437}"/>
                </a:ext>
              </a:extLst>
            </p:cNvPr>
            <p:cNvCxnSpPr/>
            <p:nvPr userDrawn="1"/>
          </p:nvCxnSpPr>
          <p:spPr bwMode="black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9">
              <a:extLst>
                <a:ext uri="{FF2B5EF4-FFF2-40B4-BE49-F238E27FC236}">
                  <a16:creationId xmlns="" xmlns:a16="http://schemas.microsoft.com/office/drawing/2014/main" id="{2B134A6E-2A49-4836-B7E8-ECDEDC8EF244}"/>
                </a:ext>
              </a:extLst>
            </p:cNvPr>
            <p:cNvCxnSpPr/>
            <p:nvPr userDrawn="1"/>
          </p:nvCxnSpPr>
          <p:spPr bwMode="black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1">
              <a:extLst>
                <a:ext uri="{FF2B5EF4-FFF2-40B4-BE49-F238E27FC236}">
                  <a16:creationId xmlns="" xmlns:a16="http://schemas.microsoft.com/office/drawing/2014/main" id="{F65194E7-A29C-439F-A904-73436FCAEF61}"/>
                </a:ext>
              </a:extLst>
            </p:cNvPr>
            <p:cNvCxnSpPr/>
            <p:nvPr userDrawn="1"/>
          </p:nvCxnSpPr>
          <p:spPr bwMode="black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3">
              <a:extLst>
                <a:ext uri="{FF2B5EF4-FFF2-40B4-BE49-F238E27FC236}">
                  <a16:creationId xmlns="" xmlns:a16="http://schemas.microsoft.com/office/drawing/2014/main" id="{A7FB9BA9-8681-4D03-8460-60B678CAE425}"/>
                </a:ext>
              </a:extLst>
            </p:cNvPr>
            <p:cNvCxnSpPr/>
            <p:nvPr userDrawn="1"/>
          </p:nvCxnSpPr>
          <p:spPr bwMode="black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478801" y="2227343"/>
            <a:ext cx="11233774" cy="664797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4800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78801" y="2834901"/>
            <a:ext cx="11233774" cy="738664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Sub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931DB818-884B-46E0-91DE-94DE3BEC4E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reation date: </a:t>
            </a:r>
            <a:r>
              <a:rPr lang="en-US" noProof="0" dirty="0" err="1"/>
              <a:t>mm.dd.yy</a:t>
            </a:r>
            <a:r>
              <a:rPr lang="en-US" noProof="0" dirty="0"/>
              <a:t> | Responsible department for filing: </a:t>
            </a:r>
            <a:r>
              <a:rPr lang="en-US" noProof="0" dirty="0" err="1"/>
              <a:t>xxxx</a:t>
            </a:r>
            <a:r>
              <a:rPr lang="en-US" noProof="0" dirty="0"/>
              <a:t>-xx | CSD-Class: </a:t>
            </a:r>
            <a:r>
              <a:rPr lang="en-US" noProof="0" dirty="0" err="1"/>
              <a:t>xx.x</a:t>
            </a:r>
            <a:r>
              <a:rPr lang="en-US" noProof="0" dirty="0"/>
              <a:t> – xx year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="" xmlns:a16="http://schemas.microsoft.com/office/drawing/2014/main" id="{99E0CF16-41E8-42B8-87C5-1227165EDB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45" name="Grafik 44">
            <a:extLst>
              <a:ext uri="{FF2B5EF4-FFF2-40B4-BE49-F238E27FC236}">
                <a16:creationId xmlns="" xmlns:a16="http://schemas.microsoft.com/office/drawing/2014/main" id="{E5537426-03B0-445D-8527-B2F0D07FE2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064575" y="60579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82716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="" xmlns:a16="http://schemas.microsoft.com/office/drawing/2014/main" id="{AADBCD95-BFED-4115-AA60-D9D1DBA151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940735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345" name="think-cell Folie" r:id="rId4" imgW="360" imgH="360" progId="">
              <p:embed/>
            </p:oleObj>
          </a:graphicData>
        </a:graphic>
      </p:graphicFrame>
      <p:sp>
        <p:nvSpPr>
          <p:cNvPr id="25" name="Textplatzhalter 7">
            <a:extLst>
              <a:ext uri="{FF2B5EF4-FFF2-40B4-BE49-F238E27FC236}">
                <a16:creationId xmlns="" xmlns:a16="http://schemas.microsoft.com/office/drawing/2014/main" id="{44ED68A1-5BB8-4B29-874A-27495F4C6F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/>
              <a:t>Placeholder subtitle (optional)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="" xmlns:a16="http://schemas.microsoft.com/office/drawing/2014/main" id="{37FD5F09-8D0F-4A89-829D-96012BC6E97E}"/>
              </a:ext>
            </a:extLst>
          </p:cNvPr>
          <p:cNvGrpSpPr/>
          <p:nvPr userDrawn="1"/>
        </p:nvGrpSpPr>
        <p:grpSpPr bwMode="black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13" name="Gerade Verbindung 6">
              <a:extLst>
                <a:ext uri="{FF2B5EF4-FFF2-40B4-BE49-F238E27FC236}">
                  <a16:creationId xmlns="" xmlns:a16="http://schemas.microsoft.com/office/drawing/2014/main" id="{B80B410E-C623-4748-B35F-B762E2156B59}"/>
                </a:ext>
              </a:extLst>
            </p:cNvPr>
            <p:cNvCxnSpPr/>
            <p:nvPr userDrawn="1"/>
          </p:nvCxnSpPr>
          <p:spPr bwMode="black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7">
              <a:extLst>
                <a:ext uri="{FF2B5EF4-FFF2-40B4-BE49-F238E27FC236}">
                  <a16:creationId xmlns="" xmlns:a16="http://schemas.microsoft.com/office/drawing/2014/main" id="{BBF77FFD-EFDD-4D19-89C5-3BCDAA4C012D}"/>
                </a:ext>
              </a:extLst>
            </p:cNvPr>
            <p:cNvCxnSpPr/>
            <p:nvPr userDrawn="1"/>
          </p:nvCxnSpPr>
          <p:spPr bwMode="black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8">
              <a:extLst>
                <a:ext uri="{FF2B5EF4-FFF2-40B4-BE49-F238E27FC236}">
                  <a16:creationId xmlns="" xmlns:a16="http://schemas.microsoft.com/office/drawing/2014/main" id="{8F990CDA-40B2-4D63-88EF-7B8EEEED7238}"/>
                </a:ext>
              </a:extLst>
            </p:cNvPr>
            <p:cNvCxnSpPr/>
            <p:nvPr userDrawn="1"/>
          </p:nvCxnSpPr>
          <p:spPr bwMode="black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9">
              <a:extLst>
                <a:ext uri="{FF2B5EF4-FFF2-40B4-BE49-F238E27FC236}">
                  <a16:creationId xmlns="" xmlns:a16="http://schemas.microsoft.com/office/drawing/2014/main" id="{4D0B6189-4DCD-4748-91BC-099537DA1E35}"/>
                </a:ext>
              </a:extLst>
            </p:cNvPr>
            <p:cNvCxnSpPr/>
            <p:nvPr userDrawn="1"/>
          </p:nvCxnSpPr>
          <p:spPr bwMode="black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0">
              <a:extLst>
                <a:ext uri="{FF2B5EF4-FFF2-40B4-BE49-F238E27FC236}">
                  <a16:creationId xmlns="" xmlns:a16="http://schemas.microsoft.com/office/drawing/2014/main" id="{02629D81-4B4D-4AA8-BB96-E77BD402C645}"/>
                </a:ext>
              </a:extLst>
            </p:cNvPr>
            <p:cNvCxnSpPr/>
            <p:nvPr userDrawn="1"/>
          </p:nvCxnSpPr>
          <p:spPr bwMode="black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">
              <a:extLst>
                <a:ext uri="{FF2B5EF4-FFF2-40B4-BE49-F238E27FC236}">
                  <a16:creationId xmlns="" xmlns:a16="http://schemas.microsoft.com/office/drawing/2014/main" id="{5026B329-92B3-430A-966F-95B5884AEF9B}"/>
                </a:ext>
              </a:extLst>
            </p:cNvPr>
            <p:cNvCxnSpPr/>
            <p:nvPr userDrawn="1"/>
          </p:nvCxnSpPr>
          <p:spPr bwMode="black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2">
              <a:extLst>
                <a:ext uri="{FF2B5EF4-FFF2-40B4-BE49-F238E27FC236}">
                  <a16:creationId xmlns="" xmlns:a16="http://schemas.microsoft.com/office/drawing/2014/main" id="{6D7F807D-3F20-44ED-9873-6A34F52F0FE7}"/>
                </a:ext>
              </a:extLst>
            </p:cNvPr>
            <p:cNvCxnSpPr/>
            <p:nvPr userDrawn="1"/>
          </p:nvCxnSpPr>
          <p:spPr bwMode="black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3">
              <a:extLst>
                <a:ext uri="{FF2B5EF4-FFF2-40B4-BE49-F238E27FC236}">
                  <a16:creationId xmlns="" xmlns:a16="http://schemas.microsoft.com/office/drawing/2014/main" id="{27540E05-F77E-477B-B80E-295FD088C37A}"/>
                </a:ext>
              </a:extLst>
            </p:cNvPr>
            <p:cNvCxnSpPr/>
            <p:nvPr userDrawn="1"/>
          </p:nvCxnSpPr>
          <p:spPr bwMode="black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8">
              <a:extLst>
                <a:ext uri="{FF2B5EF4-FFF2-40B4-BE49-F238E27FC236}">
                  <a16:creationId xmlns="" xmlns:a16="http://schemas.microsoft.com/office/drawing/2014/main" id="{33297432-4987-439C-AA75-0FC59FF1274E}"/>
                </a:ext>
              </a:extLst>
            </p:cNvPr>
            <p:cNvCxnSpPr/>
            <p:nvPr userDrawn="1"/>
          </p:nvCxnSpPr>
          <p:spPr bwMode="black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9">
              <a:extLst>
                <a:ext uri="{FF2B5EF4-FFF2-40B4-BE49-F238E27FC236}">
                  <a16:creationId xmlns="" xmlns:a16="http://schemas.microsoft.com/office/drawing/2014/main" id="{76EA895E-1075-4252-B0F7-B44F54AC3746}"/>
                </a:ext>
              </a:extLst>
            </p:cNvPr>
            <p:cNvCxnSpPr/>
            <p:nvPr userDrawn="1"/>
          </p:nvCxnSpPr>
          <p:spPr bwMode="black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8">
              <a:extLst>
                <a:ext uri="{FF2B5EF4-FFF2-40B4-BE49-F238E27FC236}">
                  <a16:creationId xmlns="" xmlns:a16="http://schemas.microsoft.com/office/drawing/2014/main" id="{A57ED76C-E4FC-4ED2-ACC3-9BB30C370EC3}"/>
                </a:ext>
              </a:extLst>
            </p:cNvPr>
            <p:cNvCxnSpPr/>
            <p:nvPr userDrawn="1"/>
          </p:nvCxnSpPr>
          <p:spPr bwMode="black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9">
              <a:extLst>
                <a:ext uri="{FF2B5EF4-FFF2-40B4-BE49-F238E27FC236}">
                  <a16:creationId xmlns="" xmlns:a16="http://schemas.microsoft.com/office/drawing/2014/main" id="{51316E67-ECDB-4EF9-AABC-3C9BA516BE4D}"/>
                </a:ext>
              </a:extLst>
            </p:cNvPr>
            <p:cNvCxnSpPr/>
            <p:nvPr userDrawn="1"/>
          </p:nvCxnSpPr>
          <p:spPr bwMode="black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479426" y="1486800"/>
            <a:ext cx="11233150" cy="45711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267"/>
              </a:spcBef>
              <a:defRPr sz="1800">
                <a:solidFill>
                  <a:schemeClr val="bg1"/>
                </a:solidFill>
              </a:defRPr>
            </a:lvl2pPr>
            <a:lvl3pPr marL="431979" indent="0">
              <a:spcBef>
                <a:spcPts val="267"/>
              </a:spcBef>
              <a:buNone/>
              <a:defRPr/>
            </a:lvl3pPr>
            <a:lvl4pPr marL="0" marR="0" indent="0" algn="l" defTabSz="121914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4pPr>
            <a:lvl5pPr marL="431979" indent="0">
              <a:spcBef>
                <a:spcPts val="267"/>
              </a:spcBef>
              <a:buNone/>
              <a:defRPr/>
            </a:lvl5pPr>
          </a:lstStyle>
          <a:p>
            <a:pPr lvl="0"/>
            <a:r>
              <a:rPr lang="en-US" noProof="0"/>
              <a:t>X.X Chapter title </a:t>
            </a:r>
          </a:p>
          <a:p>
            <a:pPr lvl="1"/>
            <a:r>
              <a:rPr lang="en-US" noProof="0"/>
              <a:t>X.X Sub-chapter  </a:t>
            </a:r>
          </a:p>
          <a:p>
            <a:pPr lvl="1"/>
            <a:r>
              <a:rPr lang="en-US" noProof="0"/>
              <a:t>X.X Sub-chapter</a:t>
            </a:r>
          </a:p>
          <a:p>
            <a:pPr lvl="1"/>
            <a:r>
              <a:rPr lang="en-US" noProof="0"/>
              <a:t>X.X Sub-chapter  </a:t>
            </a:r>
          </a:p>
          <a:p>
            <a:pPr lvl="1"/>
            <a:r>
              <a:rPr lang="en-US" noProof="0"/>
              <a:t>X.X Sub-chapter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87421D23-CC4C-4E11-AB51-A134A52084E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D05B5823-E8F4-49AD-A087-2E4E3E9680A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249B2F-9173-48D3-A5BC-90A6758C671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8" name="Gerade Verbindung 11">
            <a:extLst>
              <a:ext uri="{FF2B5EF4-FFF2-40B4-BE49-F238E27FC236}">
                <a16:creationId xmlns="" xmlns:a16="http://schemas.microsoft.com/office/drawing/2014/main" id="{0EC9E8B0-35EA-48D7-92E3-8BBACED9A569}"/>
              </a:ext>
            </a:extLst>
          </p:cNvPr>
          <p:cNvCxnSpPr/>
          <p:nvPr userDrawn="1"/>
        </p:nvCxnSpPr>
        <p:spPr bwMode="black">
          <a:xfrm rot="16200000">
            <a:off x="12312699" y="5985050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3">
            <a:extLst>
              <a:ext uri="{FF2B5EF4-FFF2-40B4-BE49-F238E27FC236}">
                <a16:creationId xmlns="" xmlns:a16="http://schemas.microsoft.com/office/drawing/2014/main" id="{C73206DE-BAF5-4B72-8F26-9D64D9296A9A}"/>
              </a:ext>
            </a:extLst>
          </p:cNvPr>
          <p:cNvCxnSpPr/>
          <p:nvPr userDrawn="1"/>
        </p:nvCxnSpPr>
        <p:spPr bwMode="black">
          <a:xfrm>
            <a:off x="11710670" y="6923907"/>
            <a:ext cx="0" cy="144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479425" y="309600"/>
            <a:ext cx="11233151" cy="360099"/>
          </a:xfrm>
        </p:spPr>
        <p:txBody>
          <a:bodyPr>
            <a:sp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genda</a:t>
            </a:r>
          </a:p>
        </p:txBody>
      </p:sp>
      <p:pic>
        <p:nvPicPr>
          <p:cNvPr id="44" name="Grafik 43">
            <a:extLst>
              <a:ext uri="{FF2B5EF4-FFF2-40B4-BE49-F238E27FC236}">
                <a16:creationId xmlns="" xmlns:a16="http://schemas.microsoft.com/office/drawing/2014/main" id="{3D7DD248-81D0-4142-8F3A-C97D08D448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064575" y="60579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041108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="" xmlns:a16="http://schemas.microsoft.com/office/drawing/2014/main" id="{5CF43238-0986-4AEC-A174-72A2762EC50A}"/>
              </a:ext>
            </a:extLst>
          </p:cNvPr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="" xmlns:p14="http://schemas.microsoft.com/office/powerpoint/2010/main" val="1749489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358" name="think-cell Folie" r:id="rId33" imgW="360" imgH="360" progId="">
              <p:embed/>
            </p:oleObj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18B1CB7D-9941-469C-9F7B-3FFC02219BBB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GB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="" xmlns:a16="http://schemas.microsoft.com/office/drawing/2014/main" id="{013B0F25-0281-4068-881A-771ACF63BA04}"/>
              </a:ext>
            </a:extLst>
          </p:cNvPr>
          <p:cNvGrpSpPr/>
          <p:nvPr/>
        </p:nvGrpSpPr>
        <p:grpSpPr bwMode="gray">
          <a:xfrm>
            <a:off x="-264684" y="-187656"/>
            <a:ext cx="12649383" cy="7255563"/>
            <a:chOff x="-264684" y="-187656"/>
            <a:chExt cx="12649383" cy="7255563"/>
          </a:xfrm>
        </p:grpSpPr>
        <p:cxnSp>
          <p:nvCxnSpPr>
            <p:cNvPr id="7" name="Gerade Verbindung 6"/>
            <p:cNvCxnSpPr/>
            <p:nvPr userDrawn="1"/>
          </p:nvCxnSpPr>
          <p:spPr bwMode="gray">
            <a:xfrm>
              <a:off x="480705" y="-187656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7"/>
            <p:cNvCxnSpPr/>
            <p:nvPr userDrawn="1"/>
          </p:nvCxnSpPr>
          <p:spPr bwMode="gray">
            <a:xfrm>
              <a:off x="11710670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 rot="16200000">
              <a:off x="-192684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 rot="16200000">
              <a:off x="12312699" y="1414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 rot="16200000">
              <a:off x="-120684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 rot="16200000">
              <a:off x="12312699" y="5985050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480705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11710670" y="6923907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5985348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6205221" y="-18088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8">
              <a:extLst>
                <a:ext uri="{FF2B5EF4-FFF2-40B4-BE49-F238E27FC236}">
                  <a16:creationId xmlns="" xmlns:a16="http://schemas.microsoft.com/office/drawing/2014/main" id="{2586650C-03A9-45D1-A011-1B70BD202E99}"/>
                </a:ext>
              </a:extLst>
            </p:cNvPr>
            <p:cNvCxnSpPr/>
            <p:nvPr userDrawn="1"/>
          </p:nvCxnSpPr>
          <p:spPr bwMode="gray">
            <a:xfrm>
              <a:off x="5985348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9">
              <a:extLst>
                <a:ext uri="{FF2B5EF4-FFF2-40B4-BE49-F238E27FC236}">
                  <a16:creationId xmlns="" xmlns:a16="http://schemas.microsoft.com/office/drawing/2014/main" id="{65253E01-4D13-4D24-8B13-96C7CCC8CFD2}"/>
                </a:ext>
              </a:extLst>
            </p:cNvPr>
            <p:cNvCxnSpPr/>
            <p:nvPr userDrawn="1"/>
          </p:nvCxnSpPr>
          <p:spPr bwMode="gray">
            <a:xfrm>
              <a:off x="6205221" y="6917133"/>
              <a:ext cx="0" cy="144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78801" y="309600"/>
            <a:ext cx="11233774" cy="3600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GB" noProof="0" dirty="0"/>
              <a:t>Placeholder slide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78801" y="1486048"/>
            <a:ext cx="11237595" cy="45718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Placeholder Subtit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Third level</a:t>
            </a:r>
          </a:p>
          <a:p>
            <a:pPr lvl="4"/>
            <a:r>
              <a:rPr lang="en-GB" noProof="0" dirty="0"/>
              <a:t>Third level</a:t>
            </a:r>
          </a:p>
        </p:txBody>
      </p:sp>
      <p:sp>
        <p:nvSpPr>
          <p:cNvPr id="28" name="Fußzeilenplatzhalter 27">
            <a:extLst>
              <a:ext uri="{FF2B5EF4-FFF2-40B4-BE49-F238E27FC236}">
                <a16:creationId xmlns="" xmlns:a16="http://schemas.microsoft.com/office/drawing/2014/main" id="{DB5CA36D-F619-49CB-BE27-07222FF59D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64000" y="6551476"/>
            <a:ext cx="6516000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reation date: </a:t>
            </a:r>
            <a:r>
              <a:rPr lang="en-US" dirty="0" err="1" smtClean="0"/>
              <a:t>mm.dd.yy</a:t>
            </a:r>
            <a:r>
              <a:rPr lang="en-US" dirty="0" smtClean="0"/>
              <a:t> | Responsible department for filing: </a:t>
            </a:r>
            <a:r>
              <a:rPr lang="en-US" dirty="0" err="1" smtClean="0"/>
              <a:t>xxxx</a:t>
            </a:r>
            <a:r>
              <a:rPr lang="en-US" dirty="0" smtClean="0"/>
              <a:t>-xx | CSD-Class: </a:t>
            </a:r>
            <a:r>
              <a:rPr lang="en-US" dirty="0" err="1" smtClean="0"/>
              <a:t>xx.x</a:t>
            </a:r>
            <a:r>
              <a:rPr lang="en-US" dirty="0" smtClean="0"/>
              <a:t> – xx years</a:t>
            </a:r>
            <a:endParaRPr lang="en-GB" dirty="0">
              <a:latin typeface="+mj-lt"/>
            </a:endParaRPr>
          </a:p>
        </p:txBody>
      </p:sp>
      <p:sp>
        <p:nvSpPr>
          <p:cNvPr id="29" name="Foliennummernplatzhalter 28">
            <a:extLst>
              <a:ext uri="{FF2B5EF4-FFF2-40B4-BE49-F238E27FC236}">
                <a16:creationId xmlns="" xmlns:a16="http://schemas.microsoft.com/office/drawing/2014/main" id="{F885C57F-AD33-4E02-982D-AFB5FBE995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478801" y="6551476"/>
            <a:ext cx="360040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</a:lstStyle>
          <a:p>
            <a:fld id="{D9249B2F-9173-48D3-A5BC-90A6758C671B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81" name="Grafik 80">
            <a:extLst>
              <a:ext uri="{FF2B5EF4-FFF2-40B4-BE49-F238E27FC236}">
                <a16:creationId xmlns="" xmlns:a16="http://schemas.microsoft.com/office/drawing/2014/main" id="{C97872D9-3953-41BC-8070-6533ACAEFFF5}"/>
              </a:ext>
            </a:extLst>
          </p:cNvPr>
          <p:cNvPicPr>
            <a:picLocks noChangeAspect="1"/>
          </p:cNvPicPr>
          <p:nvPr/>
        </p:nvPicPr>
        <p:blipFill>
          <a:blip r:embed="rId34"/>
          <a:srcRect/>
          <a:stretch/>
        </p:blipFill>
        <p:spPr>
          <a:xfrm>
            <a:off x="11062670" y="60579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87031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91" r:id="rId2"/>
    <p:sldLayoutId id="2147483676" r:id="rId3"/>
    <p:sldLayoutId id="2147483653" r:id="rId4"/>
    <p:sldLayoutId id="2147483657" r:id="rId5"/>
    <p:sldLayoutId id="2147483678" r:id="rId6"/>
    <p:sldLayoutId id="2147483687" r:id="rId7"/>
    <p:sldLayoutId id="2147483659" r:id="rId8"/>
    <p:sldLayoutId id="2147483674" r:id="rId9"/>
    <p:sldLayoutId id="2147483662" r:id="rId10"/>
    <p:sldLayoutId id="2147483664" r:id="rId11"/>
    <p:sldLayoutId id="2147483663" r:id="rId12"/>
    <p:sldLayoutId id="2147483650" r:id="rId13"/>
    <p:sldLayoutId id="2147483688" r:id="rId14"/>
    <p:sldLayoutId id="2147483665" r:id="rId15"/>
    <p:sldLayoutId id="2147483666" r:id="rId16"/>
    <p:sldLayoutId id="2147483681" r:id="rId17"/>
    <p:sldLayoutId id="2147483682" r:id="rId18"/>
    <p:sldLayoutId id="2147483683" r:id="rId19"/>
    <p:sldLayoutId id="2147483684" r:id="rId20"/>
    <p:sldLayoutId id="2147483669" r:id="rId21"/>
    <p:sldLayoutId id="2147483689" r:id="rId22"/>
    <p:sldLayoutId id="2147483690" r:id="rId23"/>
    <p:sldLayoutId id="2147483670" r:id="rId24"/>
    <p:sldLayoutId id="2147483671" r:id="rId25"/>
    <p:sldLayoutId id="2147483672" r:id="rId26"/>
    <p:sldLayoutId id="2147483677" r:id="rId27"/>
    <p:sldLayoutId id="2147483673" r:id="rId28"/>
  </p:sldLayoutIdLst>
  <p:hf hdr="0" dt="0"/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sz="2600" kern="1200" spc="13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1200"/>
        </a:spcBef>
        <a:buFont typeface="Arial" panose="020B0604020202020204" pitchFamily="34" charset="0"/>
        <a:buNone/>
        <a:defRPr lang="en-GB" sz="1800" b="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40" rtl="0" eaLnBrk="1" latinLnBrk="0" hangingPunct="1"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1219140" rtl="0" eaLnBrk="1" latinLnBrk="0" hangingPunct="1">
        <a:spcBef>
          <a:spcPts val="400"/>
        </a:spcBef>
        <a:buFont typeface="VW Text Office" panose="020B05030402000000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1219140" rtl="0" eaLnBrk="1" latinLnBrk="0" hangingPunct="1">
        <a:spcBef>
          <a:spcPts val="4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1219140" rtl="0" eaLnBrk="1" latinLnBrk="0" hangingPunct="1">
        <a:spcBef>
          <a:spcPts val="4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772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  <p15:guide id="8" pos="302" userDrawn="1">
          <p15:clr>
            <a:srgbClr val="F26B43"/>
          </p15:clr>
        </p15:guide>
        <p15:guide id="9" orient="horz" pos="3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9.vml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8.vml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0.vml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1.vml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2.vml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3.vml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4.vml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5.vml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6.vml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7.vml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="" xmlns:a16="http://schemas.microsoft.com/office/drawing/2014/main" id="{31D2C303-4D39-4240-97C2-A2F560BD68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58501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6723" name="think-cell Folie" r:id="rId5" imgW="360" imgH="360" progId="">
              <p:embed/>
            </p:oleObj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810DE7F5-0673-4AFB-8692-B7DD9EDF65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8479" y="2554469"/>
            <a:ext cx="10508303" cy="664797"/>
          </a:xfrm>
        </p:spPr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="" xmlns:a16="http://schemas.microsoft.com/office/drawing/2014/main" id="{FC8046BB-DD2E-4E8F-8D63-7CB776E580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8480" y="3189126"/>
            <a:ext cx="10508302" cy="369332"/>
          </a:xfrm>
        </p:spPr>
        <p:txBody>
          <a:bodyPr/>
          <a:lstStyle/>
          <a:p>
            <a:r>
              <a:rPr lang="en-US" sz="2400" dirty="0" smtClean="0">
                <a:solidFill>
                  <a:schemeClr val="tx1"/>
                </a:solidFill>
              </a:rPr>
              <a:t>Mystery Calling Study Russia 202</a:t>
            </a:r>
            <a:r>
              <a:rPr lang="ru-RU" sz="2400" dirty="0" smtClean="0">
                <a:solidFill>
                  <a:schemeClr val="tx1"/>
                </a:solidFill>
              </a:rPr>
              <a:t>2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="" xmlns:a16="http://schemas.microsoft.com/office/drawing/2014/main" id="{FB29F410-DFB7-4D59-BB7B-C2FA56711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tx1"/>
                </a:solidFill>
              </a:rPr>
              <a:t>Moscow </a:t>
            </a:r>
            <a:r>
              <a:rPr lang="en-GB" dirty="0">
                <a:solidFill>
                  <a:schemeClr val="tx1"/>
                </a:solidFill>
              </a:rPr>
              <a:t>| </a:t>
            </a:r>
            <a:r>
              <a:rPr lang="en-GB" dirty="0" smtClean="0">
                <a:solidFill>
                  <a:schemeClr val="tx1"/>
                </a:solidFill>
              </a:rPr>
              <a:t> 202</a:t>
            </a:r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platzhalter 12">
            <a:extLst>
              <a:ext uri="{FF2B5EF4-FFF2-40B4-BE49-F238E27FC236}">
                <a16:creationId xmlns="" xmlns:a16="http://schemas.microsoft.com/office/drawing/2014/main" id="{0A7D9892-5A4A-46D0-B71C-89BB331E27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Data classification</a:t>
            </a:r>
            <a:r>
              <a:rPr lang="en-GB" dirty="0" smtClean="0">
                <a:solidFill>
                  <a:schemeClr val="tx1"/>
                </a:solidFill>
              </a:rPr>
              <a:t>: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="" xmlns:a16="http://schemas.microsoft.com/office/drawing/2014/main" id="{38B38AE7-6B69-4A3A-BA17-6CB90DFECE3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85623" y="3702753"/>
            <a:ext cx="512006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400"/>
              </a:spcBef>
              <a:buFont typeface="Arial" panose="020B0604020202020204" pitchFamily="34" charset="0"/>
              <a:buNone/>
            </a:pPr>
            <a:r>
              <a:rPr lang="ru-RU" sz="1800" dirty="0" smtClean="0">
                <a:latin typeface="+mj-lt"/>
              </a:rPr>
              <a:t>АНКЕТА на 2022</a:t>
            </a:r>
          </a:p>
        </p:txBody>
      </p:sp>
    </p:spTree>
    <p:extLst>
      <p:ext uri="{BB962C8B-B14F-4D97-AF65-F5344CB8AC3E}">
        <p14:creationId xmlns="" xmlns:p14="http://schemas.microsoft.com/office/powerpoint/2010/main" val="7046654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="" xmlns:a16="http://schemas.microsoft.com/office/drawing/2014/main" id="{C68E64A6-1356-4E04-922F-9B0FE117F7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387263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33474" name="think-cell Folie" r:id="rId5" imgW="360" imgH="360" progId="">
              <p:embed/>
            </p:oleObj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3D139469-30C5-441C-B9D5-D521774E7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A0677B5E-4C6D-42C0-AF8D-B166CCDDB52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8801" y="1486800"/>
            <a:ext cx="11091686" cy="4571100"/>
          </a:xfrm>
        </p:spPr>
        <p:txBody>
          <a:bodyPr/>
          <a:lstStyle/>
          <a:p>
            <a:pPr lvl="1"/>
            <a:r>
              <a:rPr lang="ru-RU" sz="1400" b="1" dirty="0" smtClean="0"/>
              <a:t>БАЛЛЫ.</a:t>
            </a:r>
          </a:p>
          <a:p>
            <a:pPr lvl="1"/>
            <a:r>
              <a:rPr lang="ru-RU" sz="1400" b="1" dirty="0" smtClean="0"/>
              <a:t>Блок 1. Скорость и качество соединения  с МОП. Не принципиально. В общем рейтинге не участвует. Дается  </a:t>
            </a:r>
            <a:r>
              <a:rPr lang="ru-RU" sz="1400" b="1" dirty="0" err="1" smtClean="0"/>
              <a:t>справочно</a:t>
            </a:r>
            <a:r>
              <a:rPr lang="ru-RU" sz="1400" b="1" dirty="0" smtClean="0"/>
              <a:t>, только для возможности сравнения.</a:t>
            </a:r>
          </a:p>
          <a:p>
            <a:pPr lvl="1"/>
            <a:endParaRPr lang="ru-RU" sz="1400" b="1" dirty="0" smtClean="0"/>
          </a:p>
          <a:p>
            <a:pPr lvl="1"/>
            <a:r>
              <a:rPr lang="en-US" sz="1400" b="1" dirty="0" smtClean="0"/>
              <a:t>					</a:t>
            </a:r>
            <a:r>
              <a:rPr lang="ru-RU" sz="1400" b="1" dirty="0" smtClean="0"/>
              <a:t> От общего показателя.</a:t>
            </a:r>
          </a:p>
          <a:p>
            <a:pPr lvl="1"/>
            <a:r>
              <a:rPr lang="ru-RU" sz="1400" b="1" dirty="0" smtClean="0"/>
              <a:t>Блок 2.  Приветствие, знакомство, прощание. 			10%</a:t>
            </a:r>
          </a:p>
          <a:p>
            <a:pPr lvl="1"/>
            <a:r>
              <a:rPr lang="ru-RU" sz="1400" b="1" dirty="0" smtClean="0"/>
              <a:t>Блок 3.  Выяснение целей звонка / потребностей клиента.		20%</a:t>
            </a:r>
          </a:p>
          <a:p>
            <a:pPr lvl="1"/>
            <a:r>
              <a:rPr lang="ru-RU" sz="1400" b="1" dirty="0" smtClean="0"/>
              <a:t>Блок  4  Предложение.					20%</a:t>
            </a:r>
          </a:p>
          <a:p>
            <a:pPr lvl="1"/>
            <a:r>
              <a:rPr lang="ru-RU" sz="1400" b="1" dirty="0" smtClean="0"/>
              <a:t>Блок  5  Шаги дальнейшего взаимодействия			40%</a:t>
            </a:r>
          </a:p>
          <a:p>
            <a:pPr lvl="1"/>
            <a:r>
              <a:rPr lang="ru-RU" sz="1400" b="1" dirty="0" smtClean="0"/>
              <a:t>Блок  6 Субъективные показатели				10%</a:t>
            </a:r>
          </a:p>
          <a:p>
            <a:pPr lvl="1"/>
            <a:endParaRPr lang="ru-RU" sz="1400" b="1" dirty="0" smtClean="0"/>
          </a:p>
          <a:p>
            <a:pPr lvl="1"/>
            <a:endParaRPr lang="ru-RU" sz="1400" b="1" dirty="0" smtClean="0"/>
          </a:p>
          <a:p>
            <a:pPr lvl="1"/>
            <a:endParaRPr lang="ru-RU" sz="1400" b="1" dirty="0" smtClean="0"/>
          </a:p>
          <a:p>
            <a:pPr lvl="1"/>
            <a:endParaRPr lang="ru-RU" sz="1400" b="1" dirty="0" smtClean="0"/>
          </a:p>
          <a:p>
            <a:pPr lvl="1"/>
            <a:endParaRPr lang="ru-RU" sz="1400" b="1" dirty="0" smtClean="0"/>
          </a:p>
          <a:p>
            <a:pPr lvl="1"/>
            <a:endParaRPr lang="ru-RU" sz="1400" b="1" dirty="0" smtClean="0"/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F63AAA7D-2BAE-421B-86B5-DA1D85701D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2022 / </a:t>
            </a:r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B4F9FB33-80F4-4AD5-975D-6FF01FAE6F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88F9B42-F464-4CCE-B92E-65685AA62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 </a:t>
            </a:r>
            <a:endParaRPr lang="en-GB" b="1" dirty="0"/>
          </a:p>
        </p:txBody>
      </p:sp>
    </p:spTree>
    <p:extLst>
      <p:ext uri="{BB962C8B-B14F-4D97-AF65-F5344CB8AC3E}">
        <p14:creationId xmlns="" xmlns:p14="http://schemas.microsoft.com/office/powerpoint/2010/main" val="39092681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="" xmlns:a16="http://schemas.microsoft.com/office/drawing/2014/main" id="{C68E64A6-1356-4E04-922F-9B0FE117F7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387263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12994" name="think-cell Folie" r:id="rId5" imgW="360" imgH="360" progId="">
              <p:embed/>
            </p:oleObj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3D139469-30C5-441C-B9D5-D521774E7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A0677B5E-4C6D-42C0-AF8D-B166CCDDB52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9425" y="1486800"/>
            <a:ext cx="11091686" cy="4571100"/>
          </a:xfrm>
        </p:spPr>
        <p:txBody>
          <a:bodyPr/>
          <a:lstStyle/>
          <a:p>
            <a:pPr lvl="1"/>
            <a:r>
              <a:rPr lang="ru-RU" sz="1400" b="1" dirty="0" smtClean="0"/>
              <a:t>Анкета, используемая в исследовании </a:t>
            </a:r>
            <a:r>
              <a:rPr lang="en-US" sz="1400" b="1" dirty="0" smtClean="0"/>
              <a:t>Mystery Calling</a:t>
            </a:r>
            <a:r>
              <a:rPr lang="ru-RU" sz="1400" b="1" dirty="0" smtClean="0"/>
              <a:t> в настоящее время, была разработана  10 лет назад на основе анкеты для сектора </a:t>
            </a:r>
            <a:r>
              <a:rPr lang="en-US" sz="1400" b="1" dirty="0" smtClean="0"/>
              <a:t>PKW</a:t>
            </a:r>
            <a:r>
              <a:rPr lang="ru-RU" sz="1400" b="1" dirty="0" smtClean="0"/>
              <a:t>.</a:t>
            </a:r>
          </a:p>
          <a:p>
            <a:pPr lvl="1"/>
            <a:r>
              <a:rPr lang="ru-RU" sz="1400" b="1" dirty="0" smtClean="0"/>
              <a:t>С тех пор:</a:t>
            </a:r>
          </a:p>
          <a:p>
            <a:pPr marL="342900" lvl="1" indent="-342900">
              <a:buAutoNum type="arabicPeriod"/>
            </a:pPr>
            <a:r>
              <a:rPr lang="ru-RU" sz="1400" b="1" dirty="0" smtClean="0"/>
              <a:t>Изменились технические средства связи. АОН, системы переадресации вызовов, системы регистрации звонков.</a:t>
            </a:r>
          </a:p>
          <a:p>
            <a:pPr marL="342900" lvl="1" indent="-342900">
              <a:buAutoNum type="arabicPeriod"/>
            </a:pPr>
            <a:r>
              <a:rPr lang="ru-RU" sz="1400" b="1" dirty="0" smtClean="0"/>
              <a:t>Возросло значение </a:t>
            </a:r>
            <a:r>
              <a:rPr lang="ru-RU" sz="1400" b="1" dirty="0" err="1" smtClean="0"/>
              <a:t>онлайн</a:t>
            </a:r>
            <a:r>
              <a:rPr lang="ru-RU" sz="1400" b="1" dirty="0" smtClean="0"/>
              <a:t> сервисов. </a:t>
            </a:r>
            <a:r>
              <a:rPr lang="ru-RU" sz="1400" b="1" dirty="0" err="1" smtClean="0"/>
              <a:t>Онлайн</a:t>
            </a:r>
            <a:r>
              <a:rPr lang="ru-RU" sz="1400" b="1" dirty="0" smtClean="0"/>
              <a:t> продажи, </a:t>
            </a:r>
            <a:r>
              <a:rPr lang="ru-RU" sz="1400" b="1" dirty="0" err="1" smtClean="0"/>
              <a:t>онлайн</a:t>
            </a:r>
            <a:r>
              <a:rPr lang="ru-RU" sz="1400" b="1" dirty="0" smtClean="0"/>
              <a:t> страховки, </a:t>
            </a:r>
            <a:r>
              <a:rPr lang="ru-RU" sz="1400" b="1" dirty="0" err="1" smtClean="0"/>
              <a:t>онлайн</a:t>
            </a:r>
            <a:r>
              <a:rPr lang="ru-RU" sz="1400" b="1" dirty="0" smtClean="0"/>
              <a:t> оценка автомобилей при </a:t>
            </a:r>
            <a:r>
              <a:rPr lang="ru-RU" sz="1400" b="1" dirty="0" err="1" smtClean="0"/>
              <a:t>трейд-ин</a:t>
            </a:r>
            <a:r>
              <a:rPr lang="ru-RU" sz="1400" b="1" dirty="0" smtClean="0"/>
              <a:t>…</a:t>
            </a:r>
          </a:p>
          <a:p>
            <a:pPr marL="342900" lvl="1" indent="-342900">
              <a:buAutoNum type="arabicPeriod"/>
            </a:pPr>
            <a:r>
              <a:rPr lang="ru-RU" sz="1400" b="1" dirty="0" smtClean="0"/>
              <a:t>Широкое распространение, в том числе в бизнесе, получили новые коммуникативные сервисы: </a:t>
            </a:r>
            <a:r>
              <a:rPr lang="ru-RU" sz="1400" b="1" dirty="0" err="1" smtClean="0"/>
              <a:t>мессенджеры</a:t>
            </a:r>
            <a:r>
              <a:rPr lang="ru-RU" sz="1400" b="1" dirty="0" smtClean="0"/>
              <a:t>, соц. сети,  …</a:t>
            </a:r>
          </a:p>
          <a:p>
            <a:pPr marL="342900" lvl="1" indent="-342900">
              <a:buAutoNum type="arabicPeriod"/>
            </a:pPr>
            <a:r>
              <a:rPr lang="ru-RU" sz="1400" b="1" dirty="0" smtClean="0"/>
              <a:t>В последние 2 года очень существенное влияние оказали «карантинные» меры: самоизоляция, ограничения посещения публичных мест, перебои в производстве и поставках …</a:t>
            </a:r>
          </a:p>
          <a:p>
            <a:pPr marL="342900" lvl="1" indent="-342900">
              <a:buAutoNum type="arabicPeriod"/>
            </a:pPr>
            <a:r>
              <a:rPr lang="ru-RU" sz="1400" b="1" dirty="0" smtClean="0"/>
              <a:t>Существенно возросло количество «отложенных» продаж : </a:t>
            </a:r>
            <a:r>
              <a:rPr lang="ru-RU" sz="1400" b="1" dirty="0" err="1" smtClean="0"/>
              <a:t>бронь</a:t>
            </a:r>
            <a:r>
              <a:rPr lang="ru-RU" sz="1400" b="1" dirty="0" smtClean="0"/>
              <a:t> из поставки, индивидуальный заказ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F63AAA7D-2BAE-421B-86B5-DA1D85701D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2022 / </a:t>
            </a:r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B4F9FB33-80F4-4AD5-975D-6FF01FAE6F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88F9B42-F464-4CCE-B92E-65685AA62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 </a:t>
            </a:r>
            <a:endParaRPr lang="en-GB" b="1" dirty="0"/>
          </a:p>
        </p:txBody>
      </p:sp>
    </p:spTree>
    <p:extLst>
      <p:ext uri="{BB962C8B-B14F-4D97-AF65-F5344CB8AC3E}">
        <p14:creationId xmlns="" xmlns:p14="http://schemas.microsoft.com/office/powerpoint/2010/main" val="3909268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="" xmlns:a16="http://schemas.microsoft.com/office/drawing/2014/main" id="{C68E64A6-1356-4E04-922F-9B0FE117F7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387263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26306" name="think-cell Folie" r:id="rId5" imgW="360" imgH="360" progId="">
              <p:embed/>
            </p:oleObj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3D139469-30C5-441C-B9D5-D521774E7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A0677B5E-4C6D-42C0-AF8D-B166CCDDB52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9425" y="1486800"/>
            <a:ext cx="11091686" cy="4571100"/>
          </a:xfrm>
        </p:spPr>
        <p:txBody>
          <a:bodyPr/>
          <a:lstStyle/>
          <a:p>
            <a:pPr lvl="1"/>
            <a:r>
              <a:rPr lang="ru-RU" sz="1400" b="1" dirty="0" smtClean="0"/>
              <a:t>Предлагаем – внести коррективы.</a:t>
            </a:r>
          </a:p>
          <a:p>
            <a:pPr marL="342900" lvl="1" indent="-342900">
              <a:buAutoNum type="arabicPeriod"/>
            </a:pPr>
            <a:r>
              <a:rPr lang="ru-RU" sz="1400" b="1" dirty="0" smtClean="0"/>
              <a:t>Убрать из анкеты малозначимое.</a:t>
            </a:r>
          </a:p>
          <a:p>
            <a:pPr marL="342900" lvl="1" indent="-342900">
              <a:buAutoNum type="arabicPeriod"/>
            </a:pPr>
            <a:r>
              <a:rPr lang="ru-RU" sz="1400" b="1" dirty="0" smtClean="0"/>
              <a:t>Добавить / скорректировать вопросы/ответы на основе опыта обработки реальных звонков.</a:t>
            </a:r>
          </a:p>
          <a:p>
            <a:pPr marL="342900" lvl="1" indent="-342900">
              <a:buAutoNum type="arabicPeriod"/>
            </a:pPr>
            <a:r>
              <a:rPr lang="ru-RU" sz="1400" b="1" dirty="0" smtClean="0"/>
              <a:t>Сместить акцент в сторону возможности работы с клиентом в режиме «</a:t>
            </a:r>
            <a:r>
              <a:rPr lang="en-US" sz="1400" b="1" dirty="0" smtClean="0"/>
              <a:t>after call</a:t>
            </a:r>
            <a:r>
              <a:rPr lang="ru-RU" sz="1400" b="1" dirty="0" smtClean="0"/>
              <a:t>» .</a:t>
            </a:r>
          </a:p>
          <a:p>
            <a:pPr marL="342900" lvl="1" indent="-342900">
              <a:buAutoNum type="arabicPeriod"/>
            </a:pPr>
            <a:endParaRPr lang="ru-RU" sz="1400" b="1" dirty="0" smtClean="0"/>
          </a:p>
          <a:p>
            <a:pPr marL="342900" lvl="1" indent="-342900"/>
            <a:r>
              <a:rPr lang="ru-RU" sz="1400" b="1" dirty="0" smtClean="0"/>
              <a:t>Текущая анкета прилагается. Расчетные баллы  по текущей анкете прилагаются.</a:t>
            </a:r>
          </a:p>
          <a:p>
            <a:pPr marL="342900" lvl="1" indent="-342900"/>
            <a:endParaRPr lang="ru-RU" sz="1400" b="1" dirty="0" smtClean="0"/>
          </a:p>
          <a:p>
            <a:pPr marL="342900" lvl="1" indent="-342900"/>
            <a:r>
              <a:rPr lang="ru-RU" sz="1400" b="1" dirty="0" smtClean="0"/>
              <a:t>По новой анкете имеются пока только тезисы по корректуре и общие предложения по изменению подсчета баллов.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F63AAA7D-2BAE-421B-86B5-DA1D85701D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2022 / </a:t>
            </a:r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B4F9FB33-80F4-4AD5-975D-6FF01FAE6F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88F9B42-F464-4CCE-B92E-65685AA62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 </a:t>
            </a:r>
            <a:endParaRPr lang="en-GB" b="1" dirty="0"/>
          </a:p>
        </p:txBody>
      </p:sp>
    </p:spTree>
    <p:extLst>
      <p:ext uri="{BB962C8B-B14F-4D97-AF65-F5344CB8AC3E}">
        <p14:creationId xmlns="" xmlns:p14="http://schemas.microsoft.com/office/powerpoint/2010/main" val="39092681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="" xmlns:a16="http://schemas.microsoft.com/office/drawing/2014/main" id="{C68E64A6-1356-4E04-922F-9B0FE117F7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387263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27330" name="think-cell Folie" r:id="rId5" imgW="360" imgH="360" progId="">
              <p:embed/>
            </p:oleObj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3D139469-30C5-441C-B9D5-D521774E7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A0677B5E-4C6D-42C0-AF8D-B166CCDDB52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9425" y="1486800"/>
            <a:ext cx="11091686" cy="4571100"/>
          </a:xfrm>
        </p:spPr>
        <p:txBody>
          <a:bodyPr/>
          <a:lstStyle/>
          <a:p>
            <a:pPr lvl="1"/>
            <a:r>
              <a:rPr lang="ru-RU" sz="1400" b="1" dirty="0" smtClean="0"/>
              <a:t>Блок 1. Скорость и качество соединения  с МОП.</a:t>
            </a:r>
          </a:p>
          <a:p>
            <a:pPr lvl="1"/>
            <a:endParaRPr lang="ru-RU" sz="1400" b="1" dirty="0" smtClean="0"/>
          </a:p>
          <a:p>
            <a:pPr lvl="1"/>
            <a:r>
              <a:rPr lang="ru-RU" sz="1400" b="1" dirty="0" smtClean="0"/>
              <a:t>В целом оставить как есть, за исключением:</a:t>
            </a:r>
          </a:p>
          <a:p>
            <a:pPr lvl="1"/>
            <a:r>
              <a:rPr lang="ru-RU" sz="1400" b="1" dirty="0" smtClean="0"/>
              <a:t>Ожидание ответа – максимум 30 сек. до ответа «живого человека». Ожидание ответа «живого человека»</a:t>
            </a:r>
            <a:r>
              <a:rPr lang="en-US" sz="1400" b="1" dirty="0" smtClean="0"/>
              <a:t> &gt;30</a:t>
            </a:r>
            <a:r>
              <a:rPr lang="ru-RU" sz="1400" b="1" dirty="0" smtClean="0"/>
              <a:t> сек. – 0 баллов.</a:t>
            </a:r>
          </a:p>
          <a:p>
            <a:pPr lvl="1"/>
            <a:r>
              <a:rPr lang="ru-RU" sz="1400" b="1" dirty="0" smtClean="0"/>
              <a:t>Ожидание ответа МОП после переключения максимум 30 сек. Ожидание ответа МОП после переключения  </a:t>
            </a:r>
            <a:r>
              <a:rPr lang="en-US" sz="1400" b="1" dirty="0" smtClean="0"/>
              <a:t>&gt; </a:t>
            </a:r>
            <a:r>
              <a:rPr lang="ru-RU" sz="1400" b="1" dirty="0" smtClean="0"/>
              <a:t>30 сек. – 0 баллов.</a:t>
            </a:r>
          </a:p>
          <a:p>
            <a:pPr lvl="1"/>
            <a:r>
              <a:rPr lang="ru-RU" sz="1400" b="1" dirty="0" smtClean="0"/>
              <a:t>За идеальную схему принять : автоответчик – оператор – МОП. Любое дополнительное звено  - результат за вопрос 0 баллов.</a:t>
            </a:r>
          </a:p>
          <a:p>
            <a:pPr lvl="1"/>
            <a:r>
              <a:rPr lang="ru-RU" sz="1400" b="1" dirty="0" smtClean="0"/>
              <a:t>Неправильное соединение (в </a:t>
            </a:r>
            <a:r>
              <a:rPr lang="en-US" sz="1400" b="1" dirty="0" smtClean="0"/>
              <a:t>PKW</a:t>
            </a:r>
            <a:r>
              <a:rPr lang="ru-RU" sz="1400" b="1" dirty="0" smtClean="0"/>
              <a:t>, сервис, магазин, </a:t>
            </a:r>
            <a:r>
              <a:rPr lang="ru-RU" sz="1400" b="1" dirty="0" err="1" smtClean="0"/>
              <a:t>трейд-ин</a:t>
            </a:r>
            <a:r>
              <a:rPr lang="ru-RU" sz="1400" b="1" dirty="0" smtClean="0"/>
              <a:t>) – за вопрос 0 баллов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F63AAA7D-2BAE-421B-86B5-DA1D85701D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2022 / </a:t>
            </a:r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B4F9FB33-80F4-4AD5-975D-6FF01FAE6F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88F9B42-F464-4CCE-B92E-65685AA62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 </a:t>
            </a:r>
            <a:endParaRPr lang="en-GB" b="1" dirty="0"/>
          </a:p>
        </p:txBody>
      </p:sp>
    </p:spTree>
    <p:extLst>
      <p:ext uri="{BB962C8B-B14F-4D97-AF65-F5344CB8AC3E}">
        <p14:creationId xmlns="" xmlns:p14="http://schemas.microsoft.com/office/powerpoint/2010/main" val="39092681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="" xmlns:a16="http://schemas.microsoft.com/office/drawing/2014/main" id="{C68E64A6-1356-4E04-922F-9B0FE117F7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387263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28354" name="think-cell Folie" r:id="rId5" imgW="360" imgH="360" progId="">
              <p:embed/>
            </p:oleObj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3D139469-30C5-441C-B9D5-D521774E7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A0677B5E-4C6D-42C0-AF8D-B166CCDDB52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9425" y="1486800"/>
            <a:ext cx="11091686" cy="4571100"/>
          </a:xfrm>
        </p:spPr>
        <p:txBody>
          <a:bodyPr/>
          <a:lstStyle/>
          <a:p>
            <a:pPr lvl="1"/>
            <a:r>
              <a:rPr lang="ru-RU" sz="1400" b="1" dirty="0" smtClean="0"/>
              <a:t>Блок 2.  Приветствие, знакомство, прощание.</a:t>
            </a:r>
          </a:p>
          <a:p>
            <a:pPr lvl="1"/>
            <a:endParaRPr lang="ru-RU" sz="1400" b="1" dirty="0" smtClean="0"/>
          </a:p>
          <a:p>
            <a:pPr lvl="1"/>
            <a:r>
              <a:rPr lang="ru-RU" sz="1400" b="1" dirty="0" smtClean="0"/>
              <a:t>В целом оставить как есть, за исключением:</a:t>
            </a:r>
          </a:p>
          <a:p>
            <a:pPr lvl="1"/>
            <a:r>
              <a:rPr lang="ru-RU" sz="1400" b="1" dirty="0" smtClean="0"/>
              <a:t>Если МОП знал (от оператора) как зовут клиента, то баллы за это больше, чем просто спросил.</a:t>
            </a:r>
          </a:p>
          <a:p>
            <a:pPr lvl="1"/>
            <a:r>
              <a:rPr lang="ru-RU" sz="1400" b="1" dirty="0" smtClean="0"/>
              <a:t>Добавить в этот блок вопросы:</a:t>
            </a:r>
          </a:p>
          <a:p>
            <a:pPr lvl="1"/>
            <a:r>
              <a:rPr lang="ru-RU" sz="1400" b="1" dirty="0" smtClean="0"/>
              <a:t>Поблагодарил за интерес к Марке (перенести из блока  3 - Выявление потребностей).</a:t>
            </a:r>
          </a:p>
          <a:p>
            <a:pPr lvl="1"/>
            <a:r>
              <a:rPr lang="ru-RU" sz="1400" b="1" dirty="0" smtClean="0"/>
              <a:t>Перед прощанием поинтересовался остались ли у клиента вопросы на данном этапе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F63AAA7D-2BAE-421B-86B5-DA1D85701D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2022 / </a:t>
            </a:r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B4F9FB33-80F4-4AD5-975D-6FF01FAE6F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88F9B42-F464-4CCE-B92E-65685AA62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 </a:t>
            </a:r>
            <a:endParaRPr lang="en-GB" b="1" dirty="0"/>
          </a:p>
        </p:txBody>
      </p:sp>
    </p:spTree>
    <p:extLst>
      <p:ext uri="{BB962C8B-B14F-4D97-AF65-F5344CB8AC3E}">
        <p14:creationId xmlns="" xmlns:p14="http://schemas.microsoft.com/office/powerpoint/2010/main" val="3909268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="" xmlns:a16="http://schemas.microsoft.com/office/drawing/2014/main" id="{C68E64A6-1356-4E04-922F-9B0FE117F7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387263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29378" name="think-cell Folie" r:id="rId5" imgW="360" imgH="360" progId="">
              <p:embed/>
            </p:oleObj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3D139469-30C5-441C-B9D5-D521774E7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A0677B5E-4C6D-42C0-AF8D-B166CCDDB52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9425" y="1486800"/>
            <a:ext cx="11091686" cy="4571100"/>
          </a:xfrm>
        </p:spPr>
        <p:txBody>
          <a:bodyPr/>
          <a:lstStyle/>
          <a:p>
            <a:pPr lvl="1"/>
            <a:r>
              <a:rPr lang="ru-RU" sz="1400" b="1" dirty="0" smtClean="0"/>
              <a:t>Блок 3.  Выяснение целей звонка / потребностей клиента.</a:t>
            </a:r>
          </a:p>
          <a:p>
            <a:pPr lvl="1"/>
            <a:endParaRPr lang="ru-RU" sz="1400" b="1" dirty="0" smtClean="0"/>
          </a:p>
          <a:p>
            <a:pPr lvl="1"/>
            <a:r>
              <a:rPr lang="ru-RU" sz="1400" b="1" dirty="0" smtClean="0"/>
              <a:t>Отказаться от «подсчета» вопросов.  - какая разница какими (открытыми/закрытыми / альтернативными) вопросами МОП выявлял потребности. Главное  - результат. Вопрос заменить на :</a:t>
            </a:r>
          </a:p>
          <a:p>
            <a:pPr lvl="1"/>
            <a:r>
              <a:rPr lang="ru-RU" sz="1400" b="1" dirty="0" smtClean="0"/>
              <a:t>Какие характеристики автомобиля / параметры покупки , которые важны для клиента, выявил МОП. Ответы: </a:t>
            </a:r>
          </a:p>
          <a:p>
            <a:pPr lvl="1"/>
            <a:r>
              <a:rPr lang="ru-RU" sz="1400" b="1" dirty="0" smtClean="0"/>
              <a:t>марка, модель, комплектация, двигатель, КПП, привод, др.,  на </a:t>
            </a:r>
            <a:r>
              <a:rPr lang="ru-RU" sz="1400" b="1" dirty="0" err="1" smtClean="0"/>
              <a:t>физ</a:t>
            </a:r>
            <a:r>
              <a:rPr lang="ru-RU" sz="1400" b="1" dirty="0" smtClean="0"/>
              <a:t>/юр. лицо, для каких целей, желаемый срок покупки, схема покупки (</a:t>
            </a:r>
            <a:r>
              <a:rPr lang="ru-RU" sz="1400" b="1" dirty="0" err="1" smtClean="0"/>
              <a:t>трейд-ин</a:t>
            </a:r>
            <a:r>
              <a:rPr lang="ru-RU" sz="1400" b="1" dirty="0" smtClean="0"/>
              <a:t>, кредит, лизинг), какое доп. оборудования (не с завода, а от дилера) потребуется, бюджет, какие критерии являются основными при выборе,…</a:t>
            </a:r>
          </a:p>
          <a:p>
            <a:pPr lvl="1"/>
            <a:endParaRPr lang="ru-RU" sz="1400" b="1" dirty="0" smtClean="0"/>
          </a:p>
          <a:p>
            <a:pPr lvl="1"/>
            <a:r>
              <a:rPr lang="ru-RU" sz="1400" b="1" dirty="0" smtClean="0"/>
              <a:t>Предлагал ли альтернативы – перенести в блок 4 Предложение.</a:t>
            </a:r>
          </a:p>
          <a:p>
            <a:pPr lvl="1"/>
            <a:r>
              <a:rPr lang="ru-RU" sz="1400" b="1" dirty="0" smtClean="0"/>
              <a:t>Резюме – оставить как есть, но добавить варианты как в предыдущем вопросе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F63AAA7D-2BAE-421B-86B5-DA1D85701D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2022 / </a:t>
            </a:r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B4F9FB33-80F4-4AD5-975D-6FF01FAE6F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88F9B42-F464-4CCE-B92E-65685AA62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 </a:t>
            </a:r>
            <a:endParaRPr lang="en-GB" b="1" dirty="0"/>
          </a:p>
        </p:txBody>
      </p:sp>
    </p:spTree>
    <p:extLst>
      <p:ext uri="{BB962C8B-B14F-4D97-AF65-F5344CB8AC3E}">
        <p14:creationId xmlns="" xmlns:p14="http://schemas.microsoft.com/office/powerpoint/2010/main" val="39092681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="" xmlns:a16="http://schemas.microsoft.com/office/drawing/2014/main" id="{C68E64A6-1356-4E04-922F-9B0FE117F7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387263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30402" name="think-cell Folie" r:id="rId5" imgW="360" imgH="360" progId="">
              <p:embed/>
            </p:oleObj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3D139469-30C5-441C-B9D5-D521774E7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A0677B5E-4C6D-42C0-AF8D-B166CCDDB52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8801" y="1486800"/>
            <a:ext cx="11091686" cy="4571100"/>
          </a:xfrm>
        </p:spPr>
        <p:txBody>
          <a:bodyPr/>
          <a:lstStyle/>
          <a:p>
            <a:pPr lvl="1"/>
            <a:r>
              <a:rPr lang="ru-RU" sz="1400" b="1" dirty="0" smtClean="0"/>
              <a:t>Блок  4  Предложение.</a:t>
            </a:r>
          </a:p>
          <a:p>
            <a:pPr lvl="1"/>
            <a:r>
              <a:rPr lang="ru-RU" sz="1400" b="1" dirty="0" smtClean="0"/>
              <a:t>Добавить вопрос- Что МОП сказал о наличии автомобиля?. Ответы – есть в наличии,  есть в ближайшей поставке, индивидуальный заказ… Вопрос без баллов, только для информации и для понимания логики  последующих  ответов.</a:t>
            </a:r>
          </a:p>
          <a:p>
            <a:pPr lvl="1"/>
            <a:r>
              <a:rPr lang="ru-RU" sz="1400" b="1" dirty="0" smtClean="0"/>
              <a:t>Вопрос : Сделал ли МОП предложение в соответствии с потребностями. Добавить варианты ответов: </a:t>
            </a:r>
          </a:p>
          <a:p>
            <a:pPr lvl="1"/>
            <a:r>
              <a:rPr lang="ru-RU" sz="1400" dirty="0" smtClean="0"/>
              <a:t>Предложил точный вариант в соответствии с потребностями /или вариант, который устроил клиента; Предложил несколько вариантов на выбор; Предложил вариант но НЕ точно в соответствии с потребностями / этот вариант не устроил клиента; Предложил индивидуальный заказ самостоятельно; Предложил индивидуальный заказ после вопроса клиента; Отговаривал от индивидуального заказа; Навязывал клиенту не подходящий для клиента автомобиль (берите, что есть); Сказал, что автомобили есть в наличии, НО ничего конкретного не предложил; Сказал, что автомобили есть в наличии и предложил отправить КП на конкретный автомобиль/автомобили; Предложил прислать ссылку на сайт и клиенту самостоятельно сконфигурировать автомобиль на сайте и прислать Q код для заказа; Ничего не предложил ; Нет ответа </a:t>
            </a:r>
          </a:p>
          <a:p>
            <a:pPr lvl="1"/>
            <a:r>
              <a:rPr lang="ru-RU" sz="1400" b="1" dirty="0" smtClean="0"/>
              <a:t>Добавить вопросы: Объяснил ли как происходит бронирование автомобилей из поставки, и/или как сделать индивидуальный заказ.</a:t>
            </a:r>
          </a:p>
          <a:p>
            <a:pPr lvl="1"/>
            <a:r>
              <a:rPr lang="ru-RU" sz="1400" b="1" dirty="0" smtClean="0"/>
              <a:t>Вопрос о цене. В условиях развития интернет портала с предложениями автомобилей, подход, что нужно озвучивать приблизительную цену уже не актуален.  Цены лежат в отрытом доступе.  Вопрос изменить на – Сообщил ли стоимость и добавить вопрос (или вариант ответа) – Объяснил ли, что это цена «здесь и сейчас», и, что она может измениться из-за скидок/ подорожания и т.п.</a:t>
            </a:r>
          </a:p>
          <a:p>
            <a:pPr lvl="1"/>
            <a:endParaRPr lang="ru-RU" sz="1400" b="1" dirty="0" smtClean="0"/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F63AAA7D-2BAE-421B-86B5-DA1D85701D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2022 / </a:t>
            </a:r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B4F9FB33-80F4-4AD5-975D-6FF01FAE6F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88F9B42-F464-4CCE-B92E-65685AA62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 </a:t>
            </a:r>
            <a:endParaRPr lang="en-GB" b="1" dirty="0"/>
          </a:p>
        </p:txBody>
      </p:sp>
    </p:spTree>
    <p:extLst>
      <p:ext uri="{BB962C8B-B14F-4D97-AF65-F5344CB8AC3E}">
        <p14:creationId xmlns="" xmlns:p14="http://schemas.microsoft.com/office/powerpoint/2010/main" val="39092681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="" xmlns:a16="http://schemas.microsoft.com/office/drawing/2014/main" id="{C68E64A6-1356-4E04-922F-9B0FE117F7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387263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31426" name="think-cell Folie" r:id="rId5" imgW="360" imgH="360" progId="">
              <p:embed/>
            </p:oleObj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3D139469-30C5-441C-B9D5-D521774E7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A0677B5E-4C6D-42C0-AF8D-B166CCDDB52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8801" y="1486800"/>
            <a:ext cx="11091686" cy="4571100"/>
          </a:xfrm>
        </p:spPr>
        <p:txBody>
          <a:bodyPr/>
          <a:lstStyle/>
          <a:p>
            <a:pPr lvl="1"/>
            <a:r>
              <a:rPr lang="ru-RU" sz="1400" b="1" dirty="0" smtClean="0"/>
              <a:t>Блок  5  Шаги дальнейшего взаимодействия</a:t>
            </a:r>
          </a:p>
          <a:p>
            <a:pPr lvl="1"/>
            <a:r>
              <a:rPr lang="ru-RU" sz="1400" b="1" dirty="0" smtClean="0"/>
              <a:t>Основной вопрос, остается как и был, «взял ли телефон». При этом номер телефона должен либо ПРОЗВУЧАТЬ либо МОП по нему перезвонил клиенту.  Номер с АОН без проговаривания в зачет не идет. При современных средствах переадресации на АОН может быть все, что угодно. Ценность этого вопроса 50% от показателя блока.</a:t>
            </a:r>
          </a:p>
          <a:p>
            <a:pPr lvl="1"/>
            <a:r>
              <a:rPr lang="ru-RU" sz="1400" b="1" dirty="0" smtClean="0"/>
              <a:t>Плюсом предлагаем считать – взял </a:t>
            </a:r>
            <a:r>
              <a:rPr lang="en-US" sz="1400" b="1" dirty="0" smtClean="0"/>
              <a:t>e-mail</a:t>
            </a:r>
            <a:r>
              <a:rPr lang="ru-RU" sz="1400" b="1" dirty="0" smtClean="0"/>
              <a:t> для отправки КП.</a:t>
            </a:r>
          </a:p>
          <a:p>
            <a:pPr lvl="1"/>
            <a:r>
              <a:rPr lang="ru-RU" sz="1400" b="1" dirty="0" smtClean="0"/>
              <a:t>Конкретные дальнейшие шаги можно или разбить по отдельным вопросам или объединить в один вопрос с множеством ответов. Варианты : </a:t>
            </a:r>
          </a:p>
          <a:p>
            <a:pPr lvl="1"/>
            <a:r>
              <a:rPr lang="ru-RU" sz="1400" b="1" dirty="0" smtClean="0"/>
              <a:t>предложил встречу, назначил встречу, предложил подключить смежные подразделения (</a:t>
            </a:r>
            <a:r>
              <a:rPr lang="ru-RU" sz="1400" b="1" dirty="0" err="1" smtClean="0"/>
              <a:t>трейд-ин</a:t>
            </a:r>
            <a:r>
              <a:rPr lang="ru-RU" sz="1400" b="1" dirty="0" smtClean="0"/>
              <a:t>, кредит), предложил, что МОП позвонит клиенту, договорился о дате такого звонка, предложил отправить КП, договорился как МОП направит КП.</a:t>
            </a:r>
          </a:p>
          <a:p>
            <a:pPr lvl="1"/>
            <a:endParaRPr lang="ru-RU" sz="1400" b="1" dirty="0" smtClean="0"/>
          </a:p>
          <a:p>
            <a:pPr lvl="1"/>
            <a:r>
              <a:rPr lang="ru-RU" sz="1400" b="1" dirty="0" smtClean="0"/>
              <a:t>Добавим вопрос – Проинформировал ли МОП о месторасположении ДЦ.</a:t>
            </a:r>
          </a:p>
          <a:p>
            <a:pPr lvl="1"/>
            <a:endParaRPr lang="ru-RU" sz="1400" b="1" dirty="0" smtClean="0"/>
          </a:p>
          <a:p>
            <a:pPr lvl="1"/>
            <a:r>
              <a:rPr lang="ru-RU" sz="1400" b="1" dirty="0" smtClean="0"/>
              <a:t>Остальные вопросы оставляем как есть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F63AAA7D-2BAE-421B-86B5-DA1D85701D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2022 / </a:t>
            </a:r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B4F9FB33-80F4-4AD5-975D-6FF01FAE6F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88F9B42-F464-4CCE-B92E-65685AA62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 </a:t>
            </a:r>
            <a:endParaRPr lang="en-GB" b="1" dirty="0"/>
          </a:p>
        </p:txBody>
      </p:sp>
    </p:spTree>
    <p:extLst>
      <p:ext uri="{BB962C8B-B14F-4D97-AF65-F5344CB8AC3E}">
        <p14:creationId xmlns="" xmlns:p14="http://schemas.microsoft.com/office/powerpoint/2010/main" val="39092681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="" xmlns:a16="http://schemas.microsoft.com/office/drawing/2014/main" id="{C68E64A6-1356-4E04-922F-9B0FE117F7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387263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32450" name="think-cell Folie" r:id="rId5" imgW="360" imgH="360" progId="">
              <p:embed/>
            </p:oleObj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3D139469-30C5-441C-B9D5-D521774E7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A0677B5E-4C6D-42C0-AF8D-B166CCDDB52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8801" y="1486800"/>
            <a:ext cx="11091686" cy="4571100"/>
          </a:xfrm>
        </p:spPr>
        <p:txBody>
          <a:bodyPr/>
          <a:lstStyle/>
          <a:p>
            <a:pPr lvl="1"/>
            <a:r>
              <a:rPr lang="ru-RU" sz="1400" b="1" dirty="0" smtClean="0"/>
              <a:t>Блок  6 Субъективные показатели</a:t>
            </a:r>
          </a:p>
          <a:p>
            <a:pPr lvl="1"/>
            <a:r>
              <a:rPr lang="ru-RU" sz="1400" b="1" dirty="0" smtClean="0"/>
              <a:t>Оставляем , в основном, как есть. Только убираем объективные показатели ( например,  приглашение в салон / предложение доп. услуг и т.д.).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F63AAA7D-2BAE-421B-86B5-DA1D85701D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2022 / </a:t>
            </a:r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B4F9FB33-80F4-4AD5-975D-6FF01FAE6F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9249B2F-9173-48D3-A5BC-90A6758C671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88F9B42-F464-4CCE-B92E-65685AA62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 </a:t>
            </a:r>
            <a:endParaRPr lang="en-GB" b="1" dirty="0"/>
          </a:p>
        </p:txBody>
      </p:sp>
    </p:spTree>
    <p:extLst>
      <p:ext uri="{BB962C8B-B14F-4D97-AF65-F5344CB8AC3E}">
        <p14:creationId xmlns="" xmlns:p14="http://schemas.microsoft.com/office/powerpoint/2010/main" val="39092681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ESiuSiThmdB09qRK3r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5qjmZWRPefsYitTy0i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HwmdfwTOSPuwitQDNL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iYAgmwQQaGR.w8JO99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65cL1R_iHHZyrYD1Y5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aOaAn_RKm.S.y61Xs4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.PUvBZRAGIbcE..556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1RV7F9QhW8BJ0IbGaV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iCgu9GQGGLbMPHMt2J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X2UwPTRUGGSJeTI9Ws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79p6GQwm_4.OcpXUQ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79p6GQwm_4.OcpXUQ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79p6GQwm_4.OcpXUQ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C8gvxuTtKXYgc01jiW5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79p6GQwm_4.OcpXUQ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79p6GQwm_4.OcpXUQ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79p6GQwm_4.OcpXUQ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79p6GQwm_4.OcpXUQ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79p6GQwm_4.OcpXUQ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79p6GQwm_4.OcpXUQ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X2UwPTRUGGSJeTI9Ws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r..iGOQduFsSKogLyZwQ"/>
</p:tagLst>
</file>

<file path=ppt/theme/theme1.xml><?xml version="1.0" encoding="utf-8"?>
<a:theme xmlns:a="http://schemas.openxmlformats.org/drawingml/2006/main" name="VW Master">
  <a:themeElements>
    <a:clrScheme name="VW 7">
      <a:dk1>
        <a:sysClr val="windowText" lastClr="000000"/>
      </a:dk1>
      <a:lt1>
        <a:sysClr val="window" lastClr="FFFFFF"/>
      </a:lt1>
      <a:dk2>
        <a:srgbClr val="001E50"/>
      </a:dk2>
      <a:lt2>
        <a:srgbClr val="00B0F0"/>
      </a:lt2>
      <a:accent1>
        <a:srgbClr val="00437A"/>
      </a:accent1>
      <a:accent2>
        <a:srgbClr val="A9E3FF"/>
      </a:accent2>
      <a:accent3>
        <a:srgbClr val="0082D6"/>
      </a:accent3>
      <a:accent4>
        <a:srgbClr val="4CC7F4"/>
      </a:accent4>
      <a:accent5>
        <a:srgbClr val="6A767D"/>
      </a:accent5>
      <a:accent6>
        <a:srgbClr val="C2CACF"/>
      </a:accent6>
      <a:hlink>
        <a:srgbClr val="001E50"/>
      </a:hlink>
      <a:folHlink>
        <a:srgbClr val="00B0F0"/>
      </a:folHlink>
    </a:clrScheme>
    <a:fontScheme name="Benutzerdefiniert 5">
      <a:majorFont>
        <a:latin typeface="VW Head Office Bold"/>
        <a:ea typeface=""/>
        <a:cs typeface=""/>
      </a:majorFont>
      <a:minorFont>
        <a:latin typeface="VW Text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l">
          <a:spcBef>
            <a:spcPts val="400"/>
          </a:spcBef>
          <a:buFont typeface="Arial" panose="020B0604020202020204" pitchFamily="34" charset="0"/>
          <a:buNone/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 algn="l">
          <a:spcBef>
            <a:spcPts val="400"/>
          </a:spcBef>
          <a:buFont typeface="Arial" panose="020B0604020202020204" pitchFamily="34" charset="0"/>
          <a:buNone/>
          <a:defRPr sz="1800" dirty="0" err="1" smtClean="0"/>
        </a:defPPr>
      </a:lstStyle>
    </a:txDef>
  </a:objectDefaults>
  <a:extraClrSchemeLst/>
  <a:custClrLst>
    <a:custClr name="Red">
      <a:srgbClr val="E4002C"/>
    </a:custClr>
    <a:custClr name="Yellow">
      <a:srgbClr val="FFD100"/>
    </a:custClr>
    <a:custClr name="Green">
      <a:srgbClr val="00872B"/>
    </a:custClr>
  </a:custClrLst>
  <a:extLst>
    <a:ext uri="{05A4C25C-085E-4340-85A3-A5531E510DB2}">
      <thm15:themeFamily xmlns="" xmlns:thm15="http://schemas.microsoft.com/office/thememl/2012/main" name="Master_scr14.potx" id="{BD7F9E0F-B6FE-45CA-945D-58720BD28236}" vid="{72A54E4A-E23A-4515-B1CF-2B8C9ECBB0F0}"/>
    </a:ext>
  </a:extLst>
</a:theme>
</file>

<file path=ppt/theme/theme2.xml><?xml version="1.0" encoding="utf-8"?>
<a:theme xmlns:a="http://schemas.openxmlformats.org/drawingml/2006/main" name="Larissa">
  <a:themeElements>
    <a:clrScheme name="VW 5">
      <a:dk1>
        <a:sysClr val="windowText" lastClr="000000"/>
      </a:dk1>
      <a:lt1>
        <a:sysClr val="window" lastClr="FFFFFF"/>
      </a:lt1>
      <a:dk2>
        <a:srgbClr val="C2CACF"/>
      </a:dk2>
      <a:lt2>
        <a:srgbClr val="6A767D"/>
      </a:lt2>
      <a:accent1>
        <a:srgbClr val="00B0F0"/>
      </a:accent1>
      <a:accent2>
        <a:srgbClr val="001E50"/>
      </a:accent2>
      <a:accent3>
        <a:srgbClr val="0082D6"/>
      </a:accent3>
      <a:accent4>
        <a:srgbClr val="A9E3FF"/>
      </a:accent4>
      <a:accent5>
        <a:srgbClr val="B6BFC5"/>
      </a:accent5>
      <a:accent6>
        <a:srgbClr val="DFE4E8"/>
      </a:accent6>
      <a:hlink>
        <a:srgbClr val="001E50"/>
      </a:hlink>
      <a:folHlink>
        <a:srgbClr val="00B0F0"/>
      </a:folHlink>
    </a:clrScheme>
    <a:fontScheme name="Benutzerdefiniert 5">
      <a:majorFont>
        <a:latin typeface="VW Head Office Bold"/>
        <a:ea typeface=""/>
        <a:cs typeface=""/>
      </a:majorFont>
      <a:minorFont>
        <a:latin typeface="VW Text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VW 5">
      <a:dk1>
        <a:sysClr val="windowText" lastClr="000000"/>
      </a:dk1>
      <a:lt1>
        <a:sysClr val="window" lastClr="FFFFFF"/>
      </a:lt1>
      <a:dk2>
        <a:srgbClr val="C2CACF"/>
      </a:dk2>
      <a:lt2>
        <a:srgbClr val="6A767D"/>
      </a:lt2>
      <a:accent1>
        <a:srgbClr val="00B0F0"/>
      </a:accent1>
      <a:accent2>
        <a:srgbClr val="001E50"/>
      </a:accent2>
      <a:accent3>
        <a:srgbClr val="0082D6"/>
      </a:accent3>
      <a:accent4>
        <a:srgbClr val="A9E3FF"/>
      </a:accent4>
      <a:accent5>
        <a:srgbClr val="B6BFC5"/>
      </a:accent5>
      <a:accent6>
        <a:srgbClr val="DFE4E8"/>
      </a:accent6>
      <a:hlink>
        <a:srgbClr val="001E50"/>
      </a:hlink>
      <a:folHlink>
        <a:srgbClr val="00B0F0"/>
      </a:folHlink>
    </a:clrScheme>
    <a:fontScheme name="VW">
      <a:majorFont>
        <a:latin typeface="VW Head Office"/>
        <a:ea typeface=""/>
        <a:cs typeface=""/>
      </a:majorFont>
      <a:minorFont>
        <a:latin typeface="VW Text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</Template>
  <TotalTime>6076</TotalTime>
  <Words>1028</Words>
  <Application>Microsoft Office PowerPoint</Application>
  <PresentationFormat>Произвольный</PresentationFormat>
  <Paragraphs>99</Paragraphs>
  <Slides>10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VW Master</vt:lpstr>
      <vt:lpstr>think-cell Folie</vt:lpstr>
      <vt:lpstr>Слайд 1</vt:lpstr>
      <vt:lpstr> </vt:lpstr>
      <vt:lpstr> </vt:lpstr>
      <vt:lpstr> </vt:lpstr>
      <vt:lpstr> </vt:lpstr>
      <vt:lpstr> </vt:lpstr>
      <vt:lpstr> </vt:lpstr>
      <vt:lpstr> </vt:lpstr>
      <vt:lpstr> </vt:lpstr>
      <vt:lpstr> </vt:lpstr>
    </vt:vector>
  </TitlesOfParts>
  <Manager>Name Surname</Manager>
  <Company>Volkswage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</dc:title>
  <dc:creator>Name Surname</dc:creator>
  <dc:description>Optimized for PowerPoint 2010</dc:description>
  <cp:lastModifiedBy>Юрий Бидюк</cp:lastModifiedBy>
  <cp:revision>560</cp:revision>
  <cp:lastPrinted>2019-05-23T14:12:38Z</cp:lastPrinted>
  <dcterms:created xsi:type="dcterms:W3CDTF">2019-03-20T17:50:57Z</dcterms:created>
  <dcterms:modified xsi:type="dcterms:W3CDTF">2022-11-23T22:15:19Z</dcterms:modified>
</cp:coreProperties>
</file>